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733" r:id="rId1"/>
    <p:sldMasterId id="2147483742" r:id="rId2"/>
    <p:sldMasterId id="2147483751" r:id="rId3"/>
  </p:sldMasterIdLst>
  <p:notesMasterIdLst>
    <p:notesMasterId r:id="rId29"/>
  </p:notesMasterIdLst>
  <p:handoutMasterIdLst>
    <p:handoutMasterId r:id="rId30"/>
  </p:handoutMasterIdLst>
  <p:sldIdLst>
    <p:sldId id="271" r:id="rId4"/>
    <p:sldId id="272" r:id="rId5"/>
    <p:sldId id="273" r:id="rId6"/>
    <p:sldId id="283" r:id="rId7"/>
    <p:sldId id="287" r:id="rId8"/>
    <p:sldId id="285" r:id="rId9"/>
    <p:sldId id="301" r:id="rId10"/>
    <p:sldId id="286" r:id="rId11"/>
    <p:sldId id="304" r:id="rId12"/>
    <p:sldId id="300" r:id="rId13"/>
    <p:sldId id="288" r:id="rId14"/>
    <p:sldId id="279" r:id="rId15"/>
    <p:sldId id="290" r:id="rId16"/>
    <p:sldId id="280" r:id="rId17"/>
    <p:sldId id="295" r:id="rId18"/>
    <p:sldId id="291" r:id="rId19"/>
    <p:sldId id="294" r:id="rId20"/>
    <p:sldId id="282" r:id="rId21"/>
    <p:sldId id="302" r:id="rId22"/>
    <p:sldId id="299" r:id="rId23"/>
    <p:sldId id="298" r:id="rId24"/>
    <p:sldId id="293" r:id="rId25"/>
    <p:sldId id="305" r:id="rId26"/>
    <p:sldId id="306" r:id="rId27"/>
    <p:sldId id="307" r:id="rId28"/>
  </p:sldIdLst>
  <p:sldSz cx="9144000" cy="6858000" type="screen4x3"/>
  <p:notesSz cx="6797675" cy="9928225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1pPr>
    <a:lvl2pPr marL="4572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2pPr>
    <a:lvl3pPr marL="9144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3pPr>
    <a:lvl4pPr marL="13716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4pPr>
    <a:lvl5pPr marL="18288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5pPr>
    <a:lvl6pPr marL="2286000" algn="l" defTabSz="914400" rtl="0" eaLnBrk="1" latinLnBrk="0" hangingPunct="1">
      <a:defRPr sz="4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6pPr>
    <a:lvl7pPr marL="2743200" algn="l" defTabSz="914400" rtl="0" eaLnBrk="1" latinLnBrk="0" hangingPunct="1">
      <a:defRPr sz="4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7pPr>
    <a:lvl8pPr marL="3200400" algn="l" defTabSz="914400" rtl="0" eaLnBrk="1" latinLnBrk="0" hangingPunct="1">
      <a:defRPr sz="4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8pPr>
    <a:lvl9pPr marL="3657600" algn="l" defTabSz="914400" rtl="0" eaLnBrk="1" latinLnBrk="0" hangingPunct="1">
      <a:defRPr sz="4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AZARD Nicolas (BUDG-EXT)" initials="HN" lastIdx="4" clrIdx="0"/>
  <p:cmAuthor id="1" name="OTT Emmanuelle (BUDG)" initials="OE(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8743" autoAdjust="0"/>
  </p:normalViewPr>
  <p:slideViewPr>
    <p:cSldViewPr>
      <p:cViewPr varScale="1">
        <p:scale>
          <a:sx n="116" d="100"/>
          <a:sy n="116" d="100"/>
        </p:scale>
        <p:origin x="-1500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701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52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135" cy="496095"/>
          </a:xfrm>
          <a:prstGeom prst="rect">
            <a:avLst/>
          </a:prstGeom>
        </p:spPr>
        <p:txBody>
          <a:bodyPr vert="horz" lIns="91293" tIns="45645" rIns="91293" bIns="4564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956" y="0"/>
            <a:ext cx="2946135" cy="496095"/>
          </a:xfrm>
          <a:prstGeom prst="rect">
            <a:avLst/>
          </a:prstGeom>
        </p:spPr>
        <p:txBody>
          <a:bodyPr vert="horz" lIns="91293" tIns="45645" rIns="91293" bIns="45645" rtlCol="0"/>
          <a:lstStyle>
            <a:lvl1pPr algn="r">
              <a:defRPr sz="1200"/>
            </a:lvl1pPr>
          </a:lstStyle>
          <a:p>
            <a:fld id="{DCCED4E0-882C-4330-8405-EFC5BFCA9DBB}" type="datetimeFigureOut">
              <a:rPr lang="en-GB" smtClean="0"/>
              <a:t>04/02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547"/>
            <a:ext cx="2946135" cy="496095"/>
          </a:xfrm>
          <a:prstGeom prst="rect">
            <a:avLst/>
          </a:prstGeom>
        </p:spPr>
        <p:txBody>
          <a:bodyPr vert="horz" lIns="91293" tIns="45645" rIns="91293" bIns="4564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956" y="9430547"/>
            <a:ext cx="2946135" cy="496095"/>
          </a:xfrm>
          <a:prstGeom prst="rect">
            <a:avLst/>
          </a:prstGeom>
        </p:spPr>
        <p:txBody>
          <a:bodyPr vert="horz" lIns="91293" tIns="45645" rIns="91293" bIns="45645" rtlCol="0" anchor="b"/>
          <a:lstStyle>
            <a:lvl1pPr algn="r">
              <a:defRPr sz="1200"/>
            </a:lvl1pPr>
          </a:lstStyle>
          <a:p>
            <a:fld id="{4212D045-DFA4-4F3C-A3D8-B835FFE1DC9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53315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5988" y="744538"/>
            <a:ext cx="4967287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5362" name="Rectangle 2"/>
          <p:cNvSpPr>
            <a:spLocks noGrp="1" noChangeArrowheads="1"/>
          </p:cNvSpPr>
          <p:nvPr>
            <p:ph type="body" sz="quarter" idx="1"/>
          </p:nvPr>
        </p:nvSpPr>
        <p:spPr bwMode="auto">
          <a:xfrm>
            <a:off x="679768" y="4715910"/>
            <a:ext cx="5438140" cy="4467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vert="horz" wrap="square" lIns="91293" tIns="45645" rIns="91293" bIns="456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64112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6289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49690" y="9431339"/>
            <a:ext cx="2946399" cy="49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3" tIns="45651" rIns="91303" bIns="45651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1836" indent="-28532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1286" indent="-2282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97800" indent="-2282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4314" indent="-2282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0828" indent="-2282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67342" indent="-2282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3857" indent="-2282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0371" indent="-2282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BF0D3551-E293-40C3-AC3F-F9D4FD279007}" type="slidenum">
              <a:rPr lang="en-GB" altLang="en-US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10</a:t>
            </a:fld>
            <a:endParaRPr lang="en-GB" altLang="en-US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GB" altLang="en-US" smtClean="0"/>
              <a:t>OpSys system owner: DEVCO.05</a:t>
            </a:r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49955" y="9430547"/>
            <a:ext cx="2946135" cy="496095"/>
          </a:xfrm>
          <a:prstGeom prst="rect">
            <a:avLst/>
          </a:prstGeom>
          <a:noFill/>
        </p:spPr>
        <p:txBody>
          <a:bodyPr lIns="91303" tIns="45651" rIns="91303" bIns="45651"/>
          <a:lstStyle>
            <a:lvl1pPr>
              <a:defRPr sz="1200">
                <a:solidFill>
                  <a:srgbClr val="0F5494"/>
                </a:solidFill>
                <a:latin typeface="Verdana" pitchFamily="34" charset="0"/>
              </a:defRPr>
            </a:lvl1pPr>
            <a:lvl2pPr marL="741836" indent="-285321">
              <a:defRPr sz="1200">
                <a:solidFill>
                  <a:srgbClr val="0F5494"/>
                </a:solidFill>
                <a:latin typeface="Verdana" pitchFamily="34" charset="0"/>
              </a:defRPr>
            </a:lvl2pPr>
            <a:lvl3pPr marL="1141286" indent="-228257">
              <a:defRPr sz="1200">
                <a:solidFill>
                  <a:srgbClr val="0F5494"/>
                </a:solidFill>
                <a:latin typeface="Verdana" pitchFamily="34" charset="0"/>
              </a:defRPr>
            </a:lvl3pPr>
            <a:lvl4pPr marL="1597800" indent="-228257">
              <a:defRPr sz="1200">
                <a:solidFill>
                  <a:srgbClr val="0F5494"/>
                </a:solidFill>
                <a:latin typeface="Verdana" pitchFamily="34" charset="0"/>
              </a:defRPr>
            </a:lvl4pPr>
            <a:lvl5pPr marL="2054314" indent="-228257">
              <a:defRPr sz="1200">
                <a:solidFill>
                  <a:srgbClr val="0F5494"/>
                </a:solidFill>
                <a:latin typeface="Verdana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fld id="{FCDBD494-653C-4A43-BDA6-C17478838761}" type="slidenum">
              <a:rPr lang="en-GB" altLang="fr-FR">
                <a:solidFill>
                  <a:prstClr val="black"/>
                </a:solidFill>
                <a:latin typeface="Arial" charset="0"/>
              </a:rPr>
              <a:pPr/>
              <a:t>12</a:t>
            </a:fld>
            <a:endParaRPr lang="en-GB" altLang="fr-FR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0907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ChangeArrowheads="1"/>
          </p:cNvSpPr>
          <p:nvPr userDrawn="1"/>
        </p:nvSpPr>
        <p:spPr bwMode="auto">
          <a:xfrm>
            <a:off x="0" y="2"/>
            <a:ext cx="9144000" cy="980728"/>
          </a:xfrm>
          <a:prstGeom prst="rect">
            <a:avLst/>
          </a:prstGeom>
          <a:solidFill>
            <a:schemeClr val="bg1"/>
          </a:solidFill>
          <a:ln w="73025" algn="ctr">
            <a:noFill/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95764" tIns="47883" rIns="95764" bIns="47883" anchor="ctr"/>
          <a:lstStyle/>
          <a:p>
            <a:pPr defTabSz="478822">
              <a:defRPr/>
            </a:pPr>
            <a:endParaRPr lang="en-US" sz="190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auto">
          <a:xfrm>
            <a:off x="0" y="980730"/>
            <a:ext cx="9144000" cy="5877272"/>
          </a:xfrm>
          <a:prstGeom prst="rect">
            <a:avLst/>
          </a:prstGeom>
          <a:solidFill>
            <a:srgbClr val="0F5494"/>
          </a:solidFill>
          <a:ln w="73025" algn="ctr">
            <a:noFill/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95764" tIns="47883" rIns="95764" bIns="47883" anchor="ctr"/>
          <a:lstStyle/>
          <a:p>
            <a:pPr defTabSz="478822">
              <a:defRPr/>
            </a:pPr>
            <a:endParaRPr lang="en-US" sz="190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08951" y="312641"/>
            <a:ext cx="1376926" cy="956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 userDrawn="1"/>
        </p:nvSpPr>
        <p:spPr>
          <a:xfrm>
            <a:off x="4230690" y="6669088"/>
            <a:ext cx="684212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64" tIns="47883" rIns="95764" bIns="47883" anchor="ctr"/>
          <a:lstStyle/>
          <a:p>
            <a:pPr defTabSz="478822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9" y="1641601"/>
            <a:ext cx="8424862" cy="2088232"/>
          </a:xfrm>
        </p:spPr>
        <p:txBody>
          <a:bodyPr/>
          <a:lstStyle>
            <a:lvl1pPr indent="0">
              <a:defRPr sz="5000">
                <a:solidFill>
                  <a:srgbClr val="FFD62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9" y="4077073"/>
            <a:ext cx="8424862" cy="1728192"/>
          </a:xfrm>
        </p:spPr>
        <p:txBody>
          <a:bodyPr/>
          <a:lstStyle>
            <a:lvl1pPr indent="0">
              <a:buNone/>
              <a:defRPr sz="3100" b="1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3pPr marL="239411" indent="-239411" algn="l">
              <a:defRPr sz="3100" b="1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4230690" y="6666632"/>
            <a:ext cx="684212" cy="218356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DFB85A8-B15C-482C-8928-6168B3CA6427}" type="slidenum">
              <a:rPr lang="en-GB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7506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78822" indent="0" algn="ctr">
              <a:buNone/>
              <a:defRPr/>
            </a:lvl2pPr>
            <a:lvl3pPr marL="957644" indent="0" algn="ctr">
              <a:buNone/>
              <a:defRPr/>
            </a:lvl3pPr>
            <a:lvl4pPr marL="1436465" indent="0" algn="ctr">
              <a:buNone/>
              <a:defRPr/>
            </a:lvl4pPr>
            <a:lvl5pPr marL="1915286" indent="0" algn="ctr">
              <a:buNone/>
              <a:defRPr/>
            </a:lvl5pPr>
            <a:lvl6pPr marL="2394107" indent="0" algn="ctr">
              <a:buNone/>
              <a:defRPr/>
            </a:lvl6pPr>
            <a:lvl7pPr marL="2872929" indent="0" algn="ctr">
              <a:buNone/>
              <a:defRPr/>
            </a:lvl7pPr>
            <a:lvl8pPr marL="3351750" indent="0" algn="ctr">
              <a:buNone/>
              <a:defRPr/>
            </a:lvl8pPr>
            <a:lvl9pPr marL="3830572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fr-B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29338" y="6661151"/>
            <a:ext cx="458688" cy="196850"/>
          </a:xfrm>
          <a:ln/>
        </p:spPr>
        <p:txBody>
          <a:bodyPr/>
          <a:lstStyle>
            <a:lvl1pPr algn="ctr">
              <a:defRPr sz="11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DE184B50-72D5-4E00-AE80-B74A6C10B645}" type="slidenum">
              <a:rPr lang="en-GB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882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1269359"/>
            <a:ext cx="8229600" cy="503461"/>
          </a:xfrm>
        </p:spPr>
        <p:txBody>
          <a:bodyPr anchor="t"/>
          <a:lstStyle>
            <a:lvl1pPr>
              <a:defRPr sz="34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GB" noProof="0" dirty="0" smtClean="0"/>
              <a:t>Click</a:t>
            </a:r>
            <a:r>
              <a:rPr lang="en-US" dirty="0" smtClean="0"/>
              <a:t> to edit Master title style</a:t>
            </a:r>
            <a:endParaRPr lang="fr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9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900">
                <a:latin typeface="Calibri" pitchFamily="34" charset="0"/>
                <a:cs typeface="Calibri" pitchFamily="34" charset="0"/>
              </a:defRPr>
            </a:lvl4pPr>
            <a:lvl5pPr>
              <a:defRPr sz="19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924550" y="6669363"/>
            <a:ext cx="2895600" cy="188641"/>
          </a:xfrm>
          <a:ln/>
        </p:spPr>
        <p:txBody>
          <a:bodyPr/>
          <a:lstStyle>
            <a:lvl1pPr algn="r"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281590" y="6642604"/>
            <a:ext cx="576065" cy="242780"/>
          </a:xfrm>
          <a:ln/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31728B6-5F15-4398-A7C9-32A5FB8F2133}" type="slidenum">
              <a:rPr lang="en-GB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740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100"/>
            </a:lvl1pPr>
            <a:lvl2pPr marL="478822" indent="0">
              <a:buNone/>
              <a:defRPr sz="1900"/>
            </a:lvl2pPr>
            <a:lvl3pPr marL="957644" indent="0">
              <a:buNone/>
              <a:defRPr sz="1600"/>
            </a:lvl3pPr>
            <a:lvl4pPr marL="1436465" indent="0">
              <a:buNone/>
              <a:defRPr sz="1500"/>
            </a:lvl4pPr>
            <a:lvl5pPr marL="1915286" indent="0">
              <a:buNone/>
              <a:defRPr sz="1500"/>
            </a:lvl5pPr>
            <a:lvl6pPr marL="2394107" indent="0">
              <a:buNone/>
              <a:defRPr sz="1500"/>
            </a:lvl6pPr>
            <a:lvl7pPr marL="2872929" indent="0">
              <a:buNone/>
              <a:defRPr sz="1500"/>
            </a:lvl7pPr>
            <a:lvl8pPr marL="3351750" indent="0">
              <a:buNone/>
              <a:defRPr sz="1500"/>
            </a:lvl8pPr>
            <a:lvl9pPr marL="3830572" indent="0"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68314" y="6453190"/>
            <a:ext cx="2133600" cy="268287"/>
          </a:xfrm>
          <a:prstGeom prst="rect">
            <a:avLst/>
          </a:prstGeom>
          <a:ln/>
        </p:spPr>
        <p:txBody>
          <a:bodyPr lIns="95764" tIns="47883" rIns="95764" bIns="47883"/>
          <a:lstStyle>
            <a:lvl1pPr>
              <a:defRPr/>
            </a:lvl1pPr>
          </a:lstStyle>
          <a:p>
            <a:pPr algn="l">
              <a:defRPr/>
            </a:pPr>
            <a:endParaRPr lang="fr-FR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B703FD-A903-4748-BBEC-BF85D01AE944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6786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4" y="2133600"/>
            <a:ext cx="4038600" cy="4248150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9314" y="2133600"/>
            <a:ext cx="4038600" cy="4248150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68314" y="6453190"/>
            <a:ext cx="2133600" cy="268287"/>
          </a:xfrm>
          <a:prstGeom prst="rect">
            <a:avLst/>
          </a:prstGeom>
          <a:ln/>
        </p:spPr>
        <p:txBody>
          <a:bodyPr lIns="95764" tIns="47883" rIns="95764" bIns="47883"/>
          <a:lstStyle>
            <a:lvl1pPr>
              <a:defRPr/>
            </a:lvl1pPr>
          </a:lstStyle>
          <a:p>
            <a:pPr algn="l">
              <a:defRPr/>
            </a:pPr>
            <a:endParaRPr lang="fr-FR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6BF354-B4AC-4A46-B926-DD884A09862E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5641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115"/>
            <a:ext cx="4040188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822" indent="0">
              <a:buNone/>
              <a:defRPr sz="2100" b="1"/>
            </a:lvl2pPr>
            <a:lvl3pPr marL="957644" indent="0">
              <a:buNone/>
              <a:defRPr sz="1900" b="1"/>
            </a:lvl3pPr>
            <a:lvl4pPr marL="1436465" indent="0">
              <a:buNone/>
              <a:defRPr sz="1600" b="1"/>
            </a:lvl4pPr>
            <a:lvl5pPr marL="1915286" indent="0">
              <a:buNone/>
              <a:defRPr sz="1600" b="1"/>
            </a:lvl5pPr>
            <a:lvl6pPr marL="2394107" indent="0">
              <a:buNone/>
              <a:defRPr sz="1600" b="1"/>
            </a:lvl6pPr>
            <a:lvl7pPr marL="2872929" indent="0">
              <a:buNone/>
              <a:defRPr sz="1600" b="1"/>
            </a:lvl7pPr>
            <a:lvl8pPr marL="3351750" indent="0">
              <a:buNone/>
              <a:defRPr sz="1600" b="1"/>
            </a:lvl8pPr>
            <a:lvl9pPr marL="383057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6"/>
            <a:ext cx="4040188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5"/>
            <a:ext cx="4041775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822" indent="0">
              <a:buNone/>
              <a:defRPr sz="2100" b="1"/>
            </a:lvl2pPr>
            <a:lvl3pPr marL="957644" indent="0">
              <a:buNone/>
              <a:defRPr sz="1900" b="1"/>
            </a:lvl3pPr>
            <a:lvl4pPr marL="1436465" indent="0">
              <a:buNone/>
              <a:defRPr sz="1600" b="1"/>
            </a:lvl4pPr>
            <a:lvl5pPr marL="1915286" indent="0">
              <a:buNone/>
              <a:defRPr sz="1600" b="1"/>
            </a:lvl5pPr>
            <a:lvl6pPr marL="2394107" indent="0">
              <a:buNone/>
              <a:defRPr sz="1600" b="1"/>
            </a:lvl6pPr>
            <a:lvl7pPr marL="2872929" indent="0">
              <a:buNone/>
              <a:defRPr sz="1600" b="1"/>
            </a:lvl7pPr>
            <a:lvl8pPr marL="3351750" indent="0">
              <a:buNone/>
              <a:defRPr sz="1600" b="1"/>
            </a:lvl8pPr>
            <a:lvl9pPr marL="383057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6"/>
            <a:ext cx="4041775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68314" y="6453190"/>
            <a:ext cx="2133600" cy="268287"/>
          </a:xfrm>
          <a:prstGeom prst="rect">
            <a:avLst/>
          </a:prstGeom>
          <a:ln/>
        </p:spPr>
        <p:txBody>
          <a:bodyPr lIns="95764" tIns="47883" rIns="95764" bIns="47883"/>
          <a:lstStyle>
            <a:lvl1pPr>
              <a:defRPr/>
            </a:lvl1pPr>
          </a:lstStyle>
          <a:p>
            <a:pPr algn="l">
              <a:defRPr/>
            </a:pPr>
            <a:endParaRPr lang="fr-FR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B35F17-FB06-4E3D-B928-D3568B964FD4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27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68314" y="6453190"/>
            <a:ext cx="2133600" cy="268287"/>
          </a:xfrm>
          <a:prstGeom prst="rect">
            <a:avLst/>
          </a:prstGeom>
          <a:ln/>
        </p:spPr>
        <p:txBody>
          <a:bodyPr lIns="95764" tIns="47883" rIns="95764" bIns="47883"/>
          <a:lstStyle>
            <a:lvl1pPr>
              <a:defRPr/>
            </a:lvl1pPr>
          </a:lstStyle>
          <a:p>
            <a:pPr algn="l">
              <a:defRPr/>
            </a:pPr>
            <a:endParaRPr lang="fr-FR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002607-99F8-4993-A41E-9B03C4A70497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877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49" y="273052"/>
            <a:ext cx="5111751" cy="5853113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78822" indent="0">
              <a:buNone/>
              <a:defRPr sz="1300"/>
            </a:lvl2pPr>
            <a:lvl3pPr marL="957644" indent="0">
              <a:buNone/>
              <a:defRPr sz="1000"/>
            </a:lvl3pPr>
            <a:lvl4pPr marL="1436465" indent="0">
              <a:buNone/>
              <a:defRPr sz="1000"/>
            </a:lvl4pPr>
            <a:lvl5pPr marL="1915286" indent="0">
              <a:buNone/>
              <a:defRPr sz="1000"/>
            </a:lvl5pPr>
            <a:lvl6pPr marL="2394107" indent="0">
              <a:buNone/>
              <a:defRPr sz="1000"/>
            </a:lvl6pPr>
            <a:lvl7pPr marL="2872929" indent="0">
              <a:buNone/>
              <a:defRPr sz="1000"/>
            </a:lvl7pPr>
            <a:lvl8pPr marL="3351750" indent="0">
              <a:buNone/>
              <a:defRPr sz="1000"/>
            </a:lvl8pPr>
            <a:lvl9pPr marL="3830572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68314" y="6453190"/>
            <a:ext cx="2133600" cy="268287"/>
          </a:xfrm>
          <a:prstGeom prst="rect">
            <a:avLst/>
          </a:prstGeom>
          <a:ln/>
        </p:spPr>
        <p:txBody>
          <a:bodyPr lIns="95764" tIns="47883" rIns="95764" bIns="47883"/>
          <a:lstStyle>
            <a:lvl1pPr>
              <a:defRPr/>
            </a:lvl1pPr>
          </a:lstStyle>
          <a:p>
            <a:pPr algn="l">
              <a:defRPr/>
            </a:pPr>
            <a:endParaRPr lang="fr-FR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8DB180-3FF4-4EF1-8E78-9775783410C5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211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981075"/>
            <a:ext cx="9180513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>
            <a:lvl1pPr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4pPr>
            <a:lvl5pPr marL="2057400" indent="-22860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eaLnBrk="1" hangingPunct="1">
              <a:defRPr/>
            </a:pPr>
            <a:endParaRPr lang="en-US" altLang="fr-FR" sz="1800" smtClean="0">
              <a:solidFill>
                <a:srgbClr val="FFFFFF"/>
              </a:solidFill>
              <a:ea typeface="+mn-ea"/>
              <a:cs typeface="+mn-cs"/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4267200" y="6659563"/>
            <a:ext cx="611188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995738" y="2565400"/>
            <a:ext cx="5040312" cy="790575"/>
          </a:xfrm>
        </p:spPr>
        <p:txBody>
          <a:bodyPr/>
          <a:lstStyle>
            <a:lvl1pPr marL="3175">
              <a:defRPr sz="7600">
                <a:solidFill>
                  <a:srgbClr val="FFD624"/>
                </a:solidFill>
              </a:defRPr>
            </a:lvl1pPr>
          </a:lstStyle>
          <a:p>
            <a:pPr lvl="0"/>
            <a:r>
              <a:rPr lang="en-US" altLang="fr-FR" noProof="0" smtClean="0"/>
              <a:t>Click to edit Master title style</a:t>
            </a:r>
            <a:endParaRPr lang="en-GB" altLang="fr-FR" noProof="0" smtClean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1188" y="3716338"/>
            <a:ext cx="8532812" cy="1728787"/>
          </a:xfrm>
        </p:spPr>
        <p:txBody>
          <a:bodyPr/>
          <a:lstStyle>
            <a:lvl1pPr marL="0" indent="0">
              <a:buFontTx/>
              <a:buNone/>
              <a:defRPr sz="3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fr-FR" noProof="0" smtClean="0"/>
              <a:t>Click to edit Master subtitle style</a:t>
            </a:r>
            <a:endParaRPr lang="en-GB" altLang="fr-FR" noProof="0" smtClean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fr-FR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fld id="{78EEDD75-88BC-4436-93CA-49CE1DA40F25}" type="slidenum">
              <a:rPr lang="en-GB" altLang="fr-FR">
                <a:solidFill>
                  <a:srgbClr val="FFFFFF"/>
                </a:solidFill>
              </a:rPr>
              <a:pPr/>
              <a:t>‹#›</a:t>
            </a:fld>
            <a:endParaRPr lang="en-GB" alt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1066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AB10BA-40BC-49D9-8313-BE9ACC7EDE04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5964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F51819C-5597-4D30-A0BD-468FF57FD223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69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78822" indent="0" algn="ctr">
              <a:buNone/>
              <a:defRPr/>
            </a:lvl2pPr>
            <a:lvl3pPr marL="957644" indent="0" algn="ctr">
              <a:buNone/>
              <a:defRPr/>
            </a:lvl3pPr>
            <a:lvl4pPr marL="1436465" indent="0" algn="ctr">
              <a:buNone/>
              <a:defRPr/>
            </a:lvl4pPr>
            <a:lvl5pPr marL="1915286" indent="0" algn="ctr">
              <a:buNone/>
              <a:defRPr/>
            </a:lvl5pPr>
            <a:lvl6pPr marL="2394107" indent="0" algn="ctr">
              <a:buNone/>
              <a:defRPr/>
            </a:lvl6pPr>
            <a:lvl7pPr marL="2872929" indent="0" algn="ctr">
              <a:buNone/>
              <a:defRPr/>
            </a:lvl7pPr>
            <a:lvl8pPr marL="3351750" indent="0" algn="ctr">
              <a:buNone/>
              <a:defRPr/>
            </a:lvl8pPr>
            <a:lvl9pPr marL="3830572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fr-B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29338" y="6661151"/>
            <a:ext cx="458688" cy="196850"/>
          </a:xfrm>
          <a:ln/>
        </p:spPr>
        <p:txBody>
          <a:bodyPr/>
          <a:lstStyle>
            <a:lvl1pPr algn="ctr">
              <a:defRPr sz="11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DE184B50-72D5-4E00-AE80-B74A6C10B645}" type="slidenum">
              <a:rPr lang="en-GB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768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9263F2F-EEF0-4BD0-ACAD-381A9D2B12E5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7312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F868A78-9FE8-4CA1-AF1B-109667539968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2524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C9EC7C5-120D-4112-82B5-D23F1382BB6D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1064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277D5AD-C6FB-4DEE-870E-E95E110A4D89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1861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9606702-55ED-48C4-8FC3-E0F8612D80A1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823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fr-BE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A3B1722-3C46-44A8-BCDA-06D1B0A0D2D4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5087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4F876B-9E3B-4724-A56B-C690C78614CF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2239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13" y="1339850"/>
            <a:ext cx="2071687" cy="46815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214622C-8776-45F9-B191-49F33FB9FA6D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7158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1269363"/>
            <a:ext cx="8229600" cy="503461"/>
          </a:xfrm>
        </p:spPr>
        <p:txBody>
          <a:bodyPr anchor="t"/>
          <a:lstStyle>
            <a:lvl1pPr>
              <a:defRPr sz="34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GB" noProof="0" dirty="0" smtClean="0"/>
              <a:t>Click</a:t>
            </a:r>
            <a:r>
              <a:rPr lang="en-US" dirty="0" smtClean="0"/>
              <a:t> to edit Master title style</a:t>
            </a:r>
            <a:endParaRPr lang="fr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9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900">
                <a:latin typeface="Calibri" pitchFamily="34" charset="0"/>
                <a:cs typeface="Calibri" pitchFamily="34" charset="0"/>
              </a:defRPr>
            </a:lvl4pPr>
            <a:lvl5pPr>
              <a:defRPr sz="19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924550" y="6669367"/>
            <a:ext cx="2895600" cy="188641"/>
          </a:xfrm>
          <a:ln/>
        </p:spPr>
        <p:txBody>
          <a:bodyPr/>
          <a:lstStyle>
            <a:lvl1pPr algn="r"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281592" y="6642604"/>
            <a:ext cx="576065" cy="242780"/>
          </a:xfrm>
          <a:ln/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31728B6-5F15-4398-A7C9-32A5FB8F2133}" type="slidenum">
              <a:rPr lang="en-GB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637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7"/>
            <a:ext cx="7772400" cy="1362075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9"/>
            <a:ext cx="7772400" cy="1500187"/>
          </a:xfrm>
        </p:spPr>
        <p:txBody>
          <a:bodyPr anchor="b"/>
          <a:lstStyle>
            <a:lvl1pPr marL="0" indent="0">
              <a:buNone/>
              <a:defRPr sz="2100"/>
            </a:lvl1pPr>
            <a:lvl2pPr marL="478822" indent="0">
              <a:buNone/>
              <a:defRPr sz="1900"/>
            </a:lvl2pPr>
            <a:lvl3pPr marL="957644" indent="0">
              <a:buNone/>
              <a:defRPr sz="1600"/>
            </a:lvl3pPr>
            <a:lvl4pPr marL="1436465" indent="0">
              <a:buNone/>
              <a:defRPr sz="1500"/>
            </a:lvl4pPr>
            <a:lvl5pPr marL="1915286" indent="0">
              <a:buNone/>
              <a:defRPr sz="1500"/>
            </a:lvl5pPr>
            <a:lvl6pPr marL="2394107" indent="0">
              <a:buNone/>
              <a:defRPr sz="1500"/>
            </a:lvl6pPr>
            <a:lvl7pPr marL="2872929" indent="0">
              <a:buNone/>
              <a:defRPr sz="1500"/>
            </a:lvl7pPr>
            <a:lvl8pPr marL="3351750" indent="0">
              <a:buNone/>
              <a:defRPr sz="1500"/>
            </a:lvl8pPr>
            <a:lvl9pPr marL="3830572" indent="0"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68314" y="6453194"/>
            <a:ext cx="2133600" cy="268287"/>
          </a:xfrm>
          <a:prstGeom prst="rect">
            <a:avLst/>
          </a:prstGeom>
          <a:ln/>
        </p:spPr>
        <p:txBody>
          <a:bodyPr lIns="95764" tIns="47883" rIns="95764" bIns="47883"/>
          <a:lstStyle>
            <a:lvl1pPr>
              <a:defRPr/>
            </a:lvl1pPr>
          </a:lstStyle>
          <a:p>
            <a:pPr algn="l">
              <a:defRPr/>
            </a:pPr>
            <a:endParaRPr lang="fr-FR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B703FD-A903-4748-BBEC-BF85D01AE944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571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4" y="2133600"/>
            <a:ext cx="4038600" cy="4248150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9314" y="2133600"/>
            <a:ext cx="4038600" cy="4248150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68314" y="6453194"/>
            <a:ext cx="2133600" cy="268287"/>
          </a:xfrm>
          <a:prstGeom prst="rect">
            <a:avLst/>
          </a:prstGeom>
          <a:ln/>
        </p:spPr>
        <p:txBody>
          <a:bodyPr lIns="95764" tIns="47883" rIns="95764" bIns="47883"/>
          <a:lstStyle>
            <a:lvl1pPr>
              <a:defRPr/>
            </a:lvl1pPr>
          </a:lstStyle>
          <a:p>
            <a:pPr algn="l">
              <a:defRPr/>
            </a:pPr>
            <a:endParaRPr lang="fr-FR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6BF354-B4AC-4A46-B926-DD884A09862E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9644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115"/>
            <a:ext cx="4040188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822" indent="0">
              <a:buNone/>
              <a:defRPr sz="2100" b="1"/>
            </a:lvl2pPr>
            <a:lvl3pPr marL="957644" indent="0">
              <a:buNone/>
              <a:defRPr sz="1900" b="1"/>
            </a:lvl3pPr>
            <a:lvl4pPr marL="1436465" indent="0">
              <a:buNone/>
              <a:defRPr sz="1600" b="1"/>
            </a:lvl4pPr>
            <a:lvl5pPr marL="1915286" indent="0">
              <a:buNone/>
              <a:defRPr sz="1600" b="1"/>
            </a:lvl5pPr>
            <a:lvl6pPr marL="2394107" indent="0">
              <a:buNone/>
              <a:defRPr sz="1600" b="1"/>
            </a:lvl6pPr>
            <a:lvl7pPr marL="2872929" indent="0">
              <a:buNone/>
              <a:defRPr sz="1600" b="1"/>
            </a:lvl7pPr>
            <a:lvl8pPr marL="3351750" indent="0">
              <a:buNone/>
              <a:defRPr sz="1600" b="1"/>
            </a:lvl8pPr>
            <a:lvl9pPr marL="383057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6"/>
            <a:ext cx="4040188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5"/>
            <a:ext cx="4041775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822" indent="0">
              <a:buNone/>
              <a:defRPr sz="2100" b="1"/>
            </a:lvl2pPr>
            <a:lvl3pPr marL="957644" indent="0">
              <a:buNone/>
              <a:defRPr sz="1900" b="1"/>
            </a:lvl3pPr>
            <a:lvl4pPr marL="1436465" indent="0">
              <a:buNone/>
              <a:defRPr sz="1600" b="1"/>
            </a:lvl4pPr>
            <a:lvl5pPr marL="1915286" indent="0">
              <a:buNone/>
              <a:defRPr sz="1600" b="1"/>
            </a:lvl5pPr>
            <a:lvl6pPr marL="2394107" indent="0">
              <a:buNone/>
              <a:defRPr sz="1600" b="1"/>
            </a:lvl6pPr>
            <a:lvl7pPr marL="2872929" indent="0">
              <a:buNone/>
              <a:defRPr sz="1600" b="1"/>
            </a:lvl7pPr>
            <a:lvl8pPr marL="3351750" indent="0">
              <a:buNone/>
              <a:defRPr sz="1600" b="1"/>
            </a:lvl8pPr>
            <a:lvl9pPr marL="383057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6"/>
            <a:ext cx="4041775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68314" y="6453194"/>
            <a:ext cx="2133600" cy="268287"/>
          </a:xfrm>
          <a:prstGeom prst="rect">
            <a:avLst/>
          </a:prstGeom>
          <a:ln/>
        </p:spPr>
        <p:txBody>
          <a:bodyPr lIns="95764" tIns="47883" rIns="95764" bIns="47883"/>
          <a:lstStyle>
            <a:lvl1pPr>
              <a:defRPr/>
            </a:lvl1pPr>
          </a:lstStyle>
          <a:p>
            <a:pPr algn="l">
              <a:defRPr/>
            </a:pPr>
            <a:endParaRPr lang="fr-FR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B35F17-FB06-4E3D-B928-D3568B964FD4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298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68314" y="6453194"/>
            <a:ext cx="2133600" cy="268287"/>
          </a:xfrm>
          <a:prstGeom prst="rect">
            <a:avLst/>
          </a:prstGeom>
          <a:ln/>
        </p:spPr>
        <p:txBody>
          <a:bodyPr lIns="95764" tIns="47883" rIns="95764" bIns="47883"/>
          <a:lstStyle>
            <a:lvl1pPr>
              <a:defRPr/>
            </a:lvl1pPr>
          </a:lstStyle>
          <a:p>
            <a:pPr algn="l">
              <a:defRPr/>
            </a:pPr>
            <a:endParaRPr lang="fr-FR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002607-99F8-4993-A41E-9B03C4A70497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446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49" y="273052"/>
            <a:ext cx="5111751" cy="5853113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2"/>
            <a:ext cx="3008313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78822" indent="0">
              <a:buNone/>
              <a:defRPr sz="1300"/>
            </a:lvl2pPr>
            <a:lvl3pPr marL="957644" indent="0">
              <a:buNone/>
              <a:defRPr sz="1000"/>
            </a:lvl3pPr>
            <a:lvl4pPr marL="1436465" indent="0">
              <a:buNone/>
              <a:defRPr sz="1000"/>
            </a:lvl4pPr>
            <a:lvl5pPr marL="1915286" indent="0">
              <a:buNone/>
              <a:defRPr sz="1000"/>
            </a:lvl5pPr>
            <a:lvl6pPr marL="2394107" indent="0">
              <a:buNone/>
              <a:defRPr sz="1000"/>
            </a:lvl6pPr>
            <a:lvl7pPr marL="2872929" indent="0">
              <a:buNone/>
              <a:defRPr sz="1000"/>
            </a:lvl7pPr>
            <a:lvl8pPr marL="3351750" indent="0">
              <a:buNone/>
              <a:defRPr sz="1000"/>
            </a:lvl8pPr>
            <a:lvl9pPr marL="3830572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68314" y="6453194"/>
            <a:ext cx="2133600" cy="268287"/>
          </a:xfrm>
          <a:prstGeom prst="rect">
            <a:avLst/>
          </a:prstGeom>
          <a:ln/>
        </p:spPr>
        <p:txBody>
          <a:bodyPr lIns="95764" tIns="47883" rIns="95764" bIns="47883"/>
          <a:lstStyle>
            <a:lvl1pPr>
              <a:defRPr/>
            </a:lvl1pPr>
          </a:lstStyle>
          <a:p>
            <a:pPr algn="l">
              <a:defRPr/>
            </a:pPr>
            <a:endParaRPr lang="fr-FR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8DB180-3FF4-4EF1-8E78-9775783410C5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1243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ChangeArrowheads="1"/>
          </p:cNvSpPr>
          <p:nvPr userDrawn="1"/>
        </p:nvSpPr>
        <p:spPr bwMode="auto">
          <a:xfrm>
            <a:off x="0" y="2"/>
            <a:ext cx="9144000" cy="980728"/>
          </a:xfrm>
          <a:prstGeom prst="rect">
            <a:avLst/>
          </a:prstGeom>
          <a:solidFill>
            <a:schemeClr val="bg1"/>
          </a:solidFill>
          <a:ln w="73025" algn="ctr">
            <a:noFill/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95764" tIns="47883" rIns="95764" bIns="47883" anchor="ctr"/>
          <a:lstStyle/>
          <a:p>
            <a:pPr defTabSz="478822">
              <a:defRPr/>
            </a:pPr>
            <a:endParaRPr lang="en-US" sz="190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auto">
          <a:xfrm>
            <a:off x="0" y="980730"/>
            <a:ext cx="9144000" cy="5877272"/>
          </a:xfrm>
          <a:prstGeom prst="rect">
            <a:avLst/>
          </a:prstGeom>
          <a:solidFill>
            <a:srgbClr val="0F5494"/>
          </a:solidFill>
          <a:ln w="73025" algn="ctr">
            <a:noFill/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95764" tIns="47883" rIns="95764" bIns="47883" anchor="ctr"/>
          <a:lstStyle/>
          <a:p>
            <a:pPr defTabSz="478822">
              <a:defRPr/>
            </a:pPr>
            <a:endParaRPr lang="en-US" sz="190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08951" y="312641"/>
            <a:ext cx="1376926" cy="956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 userDrawn="1"/>
        </p:nvSpPr>
        <p:spPr>
          <a:xfrm>
            <a:off x="4230690" y="6669088"/>
            <a:ext cx="684212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64" tIns="47883" rIns="95764" bIns="47883" anchor="ctr"/>
          <a:lstStyle/>
          <a:p>
            <a:pPr defTabSz="478822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9" y="1641601"/>
            <a:ext cx="8424862" cy="2088232"/>
          </a:xfrm>
        </p:spPr>
        <p:txBody>
          <a:bodyPr/>
          <a:lstStyle>
            <a:lvl1pPr indent="0">
              <a:defRPr sz="5000">
                <a:solidFill>
                  <a:srgbClr val="FFD62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9" y="4077073"/>
            <a:ext cx="8424862" cy="1728192"/>
          </a:xfrm>
        </p:spPr>
        <p:txBody>
          <a:bodyPr/>
          <a:lstStyle>
            <a:lvl1pPr indent="0">
              <a:buNone/>
              <a:defRPr sz="3100" b="1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3pPr marL="239411" indent="-239411" algn="l">
              <a:defRPr sz="3100" b="1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4230690" y="6666632"/>
            <a:ext cx="684212" cy="218356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DFB85A8-B15C-482C-8928-6168B3CA6427}" type="slidenum">
              <a:rPr lang="en-GB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2236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196977"/>
            <a:ext cx="8229600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64" tIns="47883" rIns="95764" bIns="478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Title</a:t>
            </a: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9" y="2133600"/>
            <a:ext cx="8424862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64" tIns="47883" rIns="95764" bIns="478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2"/>
            <a:r>
              <a:rPr lang="en-GB" noProof="0" dirty="0" smtClean="0"/>
              <a:t>Fourth level</a:t>
            </a:r>
          </a:p>
        </p:txBody>
      </p:sp>
      <p:sp>
        <p:nvSpPr>
          <p:cNvPr id="1054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924550" y="6659569"/>
            <a:ext cx="2895600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64" tIns="47883" rIns="95764" bIns="47883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latin typeface="Arial" charset="0"/>
              </a:defRPr>
            </a:lvl1pPr>
          </a:lstStyle>
          <a:p>
            <a:pPr>
              <a:defRPr/>
            </a:pP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054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70376" y="6661151"/>
            <a:ext cx="603251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64" tIns="47883" rIns="95764" bIns="47883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latin typeface="Arial" charset="0"/>
              </a:defRPr>
            </a:lvl1pPr>
          </a:lstStyle>
          <a:p>
            <a:pPr>
              <a:defRPr/>
            </a:pPr>
            <a:fld id="{146E6392-056C-472F-9404-7B64353D27FF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1"/>
            <a:ext cx="9144000" cy="95726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64" tIns="47883" rIns="95764" bIns="47883" anchor="ctr"/>
          <a:lstStyle/>
          <a:p>
            <a:pPr defTabSz="47882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262439" y="6659569"/>
            <a:ext cx="611188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64" tIns="47883" rIns="95764" bIns="47883" anchor="t"/>
          <a:lstStyle/>
          <a:p>
            <a:pPr defTabSz="47882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21513" name="Picture 9" descr="LOGO CE_Vertical_EN_NEG_quadri_HR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3957638" y="258765"/>
            <a:ext cx="1436688" cy="1004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80379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marL="375742" indent="-375742" algn="l" rtl="0" eaLnBrk="0" fontAlgn="base" hangingPunct="0">
        <a:spcBef>
          <a:spcPct val="0"/>
        </a:spcBef>
        <a:spcAft>
          <a:spcPct val="0"/>
        </a:spcAft>
        <a:defRPr sz="3400" b="1">
          <a:solidFill>
            <a:srgbClr val="0F5494"/>
          </a:solidFill>
          <a:latin typeface="Calibri" pitchFamily="34" charset="0"/>
          <a:ea typeface="+mj-ea"/>
          <a:cs typeface="Calibri" pitchFamily="34" charset="0"/>
        </a:defRPr>
      </a:lvl1pPr>
      <a:lvl2pPr marL="375742" indent="-375742"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2pPr>
      <a:lvl3pPr marL="375742" indent="-375742"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3pPr>
      <a:lvl4pPr marL="375742" indent="-375742"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4pPr>
      <a:lvl5pPr marL="375742" indent="-375742"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5pPr>
      <a:lvl6pPr marL="854563" algn="l" rtl="0" fontAlgn="base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6pPr>
      <a:lvl7pPr marL="1333384" algn="l" rtl="0" fontAlgn="base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7pPr>
      <a:lvl8pPr marL="1812206" algn="l" rtl="0" fontAlgn="base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8pPr>
      <a:lvl9pPr marL="2291028" algn="l" rtl="0" fontAlgn="base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9pPr>
    </p:titleStyle>
    <p:bodyStyle>
      <a:lvl1pPr marL="359117" indent="-359117" algn="l" rtl="0" eaLnBrk="0" fontAlgn="base" hangingPunct="0">
        <a:spcBef>
          <a:spcPct val="20000"/>
        </a:spcBef>
        <a:spcAft>
          <a:spcPct val="0"/>
        </a:spcAft>
        <a:buClr>
          <a:srgbClr val="0F5494"/>
        </a:buClr>
        <a:buChar char="•"/>
        <a:defRPr sz="2100" i="1">
          <a:solidFill>
            <a:srgbClr val="0F5494"/>
          </a:solidFill>
          <a:latin typeface="Calibri" pitchFamily="34" charset="0"/>
          <a:ea typeface="+mn-ea"/>
          <a:cs typeface="Calibri" pitchFamily="34" charset="0"/>
        </a:defRPr>
      </a:lvl1pPr>
      <a:lvl2pPr marL="778085" indent="-299263" algn="l" rtl="0" eaLnBrk="0" fontAlgn="base" hangingPunct="0">
        <a:spcBef>
          <a:spcPct val="20000"/>
        </a:spcBef>
        <a:spcAft>
          <a:spcPct val="0"/>
        </a:spcAft>
        <a:buClr>
          <a:srgbClr val="0F5494"/>
        </a:buClr>
        <a:buChar char="•"/>
        <a:defRPr sz="2100" b="1">
          <a:solidFill>
            <a:srgbClr val="0F5494"/>
          </a:solidFill>
          <a:latin typeface="Calibri" pitchFamily="34" charset="0"/>
          <a:cs typeface="Calibri" pitchFamily="34" charset="0"/>
        </a:defRPr>
      </a:lvl2pPr>
      <a:lvl3pPr marL="1197054" indent="-239411" algn="l" rtl="0" eaLnBrk="0" fontAlgn="base" hangingPunct="0">
        <a:spcBef>
          <a:spcPct val="20000"/>
        </a:spcBef>
        <a:spcAft>
          <a:spcPct val="0"/>
        </a:spcAft>
        <a:buFontTx/>
        <a:buChar char="-"/>
        <a:defRPr sz="2100">
          <a:solidFill>
            <a:srgbClr val="0F5494"/>
          </a:solidFill>
          <a:latin typeface="Calibri" pitchFamily="34" charset="0"/>
          <a:cs typeface="Calibri" pitchFamily="34" charset="0"/>
        </a:defRPr>
      </a:lvl3pPr>
      <a:lvl4pPr marL="1675874" indent="-239411" algn="l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Arial" charset="0"/>
        </a:defRPr>
      </a:lvl4pPr>
      <a:lvl5pPr marL="2154696" indent="-239411" algn="l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Arial" charset="0"/>
        </a:defRPr>
      </a:lvl5pPr>
      <a:lvl6pPr marL="2633518" indent="-239411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Arial" charset="0"/>
        </a:defRPr>
      </a:lvl6pPr>
      <a:lvl7pPr marL="3112340" indent="-239411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Arial" charset="0"/>
        </a:defRPr>
      </a:lvl7pPr>
      <a:lvl8pPr marL="3591161" indent="-239411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Arial" charset="0"/>
        </a:defRPr>
      </a:lvl8pPr>
      <a:lvl9pPr marL="4069983" indent="-239411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822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644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465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286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107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2929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1750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0572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196977"/>
            <a:ext cx="8229600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64" tIns="47883" rIns="95764" bIns="478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Title</a:t>
            </a: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9" y="2133600"/>
            <a:ext cx="8424862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64" tIns="47883" rIns="95764" bIns="478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2"/>
            <a:r>
              <a:rPr lang="en-GB" noProof="0" dirty="0" smtClean="0"/>
              <a:t>Fourth level</a:t>
            </a:r>
          </a:p>
        </p:txBody>
      </p:sp>
      <p:sp>
        <p:nvSpPr>
          <p:cNvPr id="1054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924550" y="6659565"/>
            <a:ext cx="2895600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64" tIns="47883" rIns="95764" bIns="47883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latin typeface="Arial" charset="0"/>
              </a:defRPr>
            </a:lvl1pPr>
          </a:lstStyle>
          <a:p>
            <a:pPr>
              <a:defRPr/>
            </a:pP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054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70376" y="6661151"/>
            <a:ext cx="603251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64" tIns="47883" rIns="95764" bIns="47883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latin typeface="Arial" charset="0"/>
              </a:defRPr>
            </a:lvl1pPr>
          </a:lstStyle>
          <a:p>
            <a:pPr>
              <a:defRPr/>
            </a:pPr>
            <a:fld id="{146E6392-056C-472F-9404-7B64353D27FF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1"/>
            <a:ext cx="9144000" cy="95726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64" tIns="47883" rIns="95764" bIns="47883" anchor="ctr"/>
          <a:lstStyle/>
          <a:p>
            <a:pPr defTabSz="47882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262439" y="6659565"/>
            <a:ext cx="611188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64" tIns="47883" rIns="95764" bIns="47883" anchor="t"/>
          <a:lstStyle/>
          <a:p>
            <a:pPr defTabSz="47882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21513" name="Picture 9" descr="LOGO CE_Vertical_EN_NEG_quadri_HR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3957638" y="258765"/>
            <a:ext cx="1436688" cy="1004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33294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marL="375742" indent="-375742" algn="l" rtl="0" eaLnBrk="0" fontAlgn="base" hangingPunct="0">
        <a:spcBef>
          <a:spcPct val="0"/>
        </a:spcBef>
        <a:spcAft>
          <a:spcPct val="0"/>
        </a:spcAft>
        <a:defRPr sz="3400" b="1">
          <a:solidFill>
            <a:srgbClr val="0F5494"/>
          </a:solidFill>
          <a:latin typeface="Calibri" pitchFamily="34" charset="0"/>
          <a:ea typeface="+mj-ea"/>
          <a:cs typeface="Calibri" pitchFamily="34" charset="0"/>
        </a:defRPr>
      </a:lvl1pPr>
      <a:lvl2pPr marL="375742" indent="-375742"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2pPr>
      <a:lvl3pPr marL="375742" indent="-375742"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3pPr>
      <a:lvl4pPr marL="375742" indent="-375742"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4pPr>
      <a:lvl5pPr marL="375742" indent="-375742"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5pPr>
      <a:lvl6pPr marL="854563" algn="l" rtl="0" fontAlgn="base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6pPr>
      <a:lvl7pPr marL="1333384" algn="l" rtl="0" fontAlgn="base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7pPr>
      <a:lvl8pPr marL="1812206" algn="l" rtl="0" fontAlgn="base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8pPr>
      <a:lvl9pPr marL="2291028" algn="l" rtl="0" fontAlgn="base">
        <a:spcBef>
          <a:spcPct val="0"/>
        </a:spcBef>
        <a:spcAft>
          <a:spcPct val="0"/>
        </a:spcAft>
        <a:defRPr sz="2500" b="1">
          <a:solidFill>
            <a:srgbClr val="0F5494"/>
          </a:solidFill>
          <a:latin typeface="Verdana" pitchFamily="34" charset="0"/>
        </a:defRPr>
      </a:lvl9pPr>
    </p:titleStyle>
    <p:bodyStyle>
      <a:lvl1pPr marL="359117" indent="-359117" algn="l" rtl="0" eaLnBrk="0" fontAlgn="base" hangingPunct="0">
        <a:spcBef>
          <a:spcPct val="20000"/>
        </a:spcBef>
        <a:spcAft>
          <a:spcPct val="0"/>
        </a:spcAft>
        <a:buClr>
          <a:srgbClr val="0F5494"/>
        </a:buClr>
        <a:buChar char="•"/>
        <a:defRPr sz="2100" i="1">
          <a:solidFill>
            <a:srgbClr val="0F5494"/>
          </a:solidFill>
          <a:latin typeface="Calibri" pitchFamily="34" charset="0"/>
          <a:ea typeface="+mn-ea"/>
          <a:cs typeface="Calibri" pitchFamily="34" charset="0"/>
        </a:defRPr>
      </a:lvl1pPr>
      <a:lvl2pPr marL="778085" indent="-299263" algn="l" rtl="0" eaLnBrk="0" fontAlgn="base" hangingPunct="0">
        <a:spcBef>
          <a:spcPct val="20000"/>
        </a:spcBef>
        <a:spcAft>
          <a:spcPct val="0"/>
        </a:spcAft>
        <a:buClr>
          <a:srgbClr val="0F5494"/>
        </a:buClr>
        <a:buChar char="•"/>
        <a:defRPr sz="2100" b="1">
          <a:solidFill>
            <a:srgbClr val="0F5494"/>
          </a:solidFill>
          <a:latin typeface="Calibri" pitchFamily="34" charset="0"/>
          <a:cs typeface="Calibri" pitchFamily="34" charset="0"/>
        </a:defRPr>
      </a:lvl2pPr>
      <a:lvl3pPr marL="1197054" indent="-239411" algn="l" rtl="0" eaLnBrk="0" fontAlgn="base" hangingPunct="0">
        <a:spcBef>
          <a:spcPct val="20000"/>
        </a:spcBef>
        <a:spcAft>
          <a:spcPct val="0"/>
        </a:spcAft>
        <a:buFontTx/>
        <a:buChar char="-"/>
        <a:defRPr sz="2100">
          <a:solidFill>
            <a:srgbClr val="0F5494"/>
          </a:solidFill>
          <a:latin typeface="Calibri" pitchFamily="34" charset="0"/>
          <a:cs typeface="Calibri" pitchFamily="34" charset="0"/>
        </a:defRPr>
      </a:lvl3pPr>
      <a:lvl4pPr marL="1675874" indent="-239411" algn="l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Arial" charset="0"/>
        </a:defRPr>
      </a:lvl4pPr>
      <a:lvl5pPr marL="2154696" indent="-239411" algn="l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Arial" charset="0"/>
        </a:defRPr>
      </a:lvl5pPr>
      <a:lvl6pPr marL="2633518" indent="-239411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Arial" charset="0"/>
        </a:defRPr>
      </a:lvl6pPr>
      <a:lvl7pPr marL="3112340" indent="-239411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Arial" charset="0"/>
        </a:defRPr>
      </a:lvl7pPr>
      <a:lvl8pPr marL="3591161" indent="-239411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Arial" charset="0"/>
        </a:defRPr>
      </a:lvl8pPr>
      <a:lvl9pPr marL="4069983" indent="-239411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822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644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465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286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107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2929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1750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0572" algn="l" defTabSz="9576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339850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492375"/>
            <a:ext cx="8229600" cy="3529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altLang="fr-FR" smtClean="0"/>
              <a:t>Second level</a:t>
            </a:r>
            <a:endParaRPr lang="en-GB" altLang="fr-FR" smtClean="0"/>
          </a:p>
          <a:p>
            <a:pPr lvl="1"/>
            <a:r>
              <a:rPr lang="en-GB" altLang="fr-FR" smtClean="0"/>
              <a:t>Third level</a:t>
            </a:r>
          </a:p>
          <a:p>
            <a:pPr lvl="2"/>
            <a:r>
              <a:rPr lang="en-GB" altLang="fr-FR" smtClean="0"/>
              <a:t>- Four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algn="l">
              <a:defRPr/>
            </a:pPr>
            <a:endParaRPr lang="en-GB" altLang="fr-FR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fr-FR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EF22888-4770-4F78-84C5-79C15FA2B26D}" type="slidenum">
              <a:rPr lang="en-GB" altLang="fr-FR">
                <a:solidFill>
                  <a:srgbClr val="000000"/>
                </a:solidFill>
                <a:ea typeface="+mn-ea"/>
                <a:cs typeface="+mn-cs"/>
              </a:rPr>
              <a:pPr/>
              <a:t>‹#›</a:t>
            </a:fld>
            <a:endParaRPr lang="en-GB" altLang="fr-FR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033" name="Picture 17" descr="LOGO CE_Vertical_EN_NEG_quadri_HR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2377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</p:sldLayoutIdLst>
  <p:hf hdr="0" ftr="0" dt="0"/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altLang="en-US" dirty="0" err="1" smtClean="0">
                <a:solidFill>
                  <a:srgbClr val="FFC000"/>
                </a:solidFill>
              </a:rPr>
              <a:t>OpSys</a:t>
            </a:r>
            <a:endParaRPr lang="en-GB" altLang="en-US" dirty="0" smtClean="0">
              <a:solidFill>
                <a:srgbClr val="FFC000"/>
              </a:solidFill>
            </a:endParaRPr>
          </a:p>
        </p:txBody>
      </p:sp>
      <p:sp>
        <p:nvSpPr>
          <p:cNvPr id="17411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altLang="en-US" dirty="0" smtClean="0"/>
              <a:t>First Programme User Committee</a:t>
            </a:r>
            <a:endParaRPr lang="en-GB" altLang="en-US" dirty="0" smtClean="0"/>
          </a:p>
          <a:p>
            <a:endParaRPr lang="en-GB" altLang="en-US" dirty="0" smtClean="0"/>
          </a:p>
          <a:p>
            <a:r>
              <a:rPr lang="en-GB" altLang="en-US" b="0" dirty="0" smtClean="0"/>
              <a:t>21 </a:t>
            </a:r>
            <a:r>
              <a:rPr lang="en-GB" altLang="en-US" b="0" dirty="0" smtClean="0"/>
              <a:t>January 2016</a:t>
            </a: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423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 bwMode="auto">
          <a:xfrm>
            <a:off x="204788" y="1400175"/>
            <a:ext cx="8628062" cy="3421063"/>
          </a:xfrm>
          <a:prstGeom prst="rect">
            <a:avLst/>
          </a:prstGeom>
          <a:solidFill>
            <a:srgbClr val="00B0F0"/>
          </a:solidFill>
          <a:ln>
            <a:headEnd type="none" w="med" len="med"/>
            <a:tailEnd type="none" w="med" len="med"/>
          </a:ln>
          <a:ex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/>
          <a:lstStyle/>
          <a:p>
            <a:pPr marL="3175">
              <a:spcAft>
                <a:spcPts val="600"/>
              </a:spcAft>
              <a:defRPr/>
            </a:pPr>
            <a:r>
              <a:rPr lang="fr-BE" sz="1600" b="1" dirty="0" err="1">
                <a:solidFill>
                  <a:srgbClr val="FFFFFF"/>
                </a:solidFill>
                <a:latin typeface="Georgia" panose="02040502050405020303" pitchFamily="18" charset="0"/>
              </a:rPr>
              <a:t>OpSys</a:t>
            </a:r>
            <a:r>
              <a:rPr lang="fr-BE" sz="1600" b="1" dirty="0">
                <a:solidFill>
                  <a:srgbClr val="FFFFFF"/>
                </a:solidFill>
                <a:latin typeface="Georgia" panose="02040502050405020303" pitchFamily="18" charset="0"/>
              </a:rPr>
              <a:t> </a:t>
            </a:r>
            <a:r>
              <a:rPr lang="fr-BE" sz="1600" b="1" dirty="0" err="1">
                <a:solidFill>
                  <a:srgbClr val="FFFFFF"/>
                </a:solidFill>
                <a:latin typeface="Georgia" panose="02040502050405020303" pitchFamily="18" charset="0"/>
              </a:rPr>
              <a:t>projects</a:t>
            </a:r>
            <a:endParaRPr lang="fr-BE" sz="1600" b="1" dirty="0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01663" y="1795463"/>
            <a:ext cx="3227387" cy="4286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175">
              <a:spcAft>
                <a:spcPts val="600"/>
              </a:spcAft>
              <a:defRPr/>
            </a:pPr>
            <a:r>
              <a:rPr lang="fr-BE" sz="1400" b="1" dirty="0" err="1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Result</a:t>
            </a:r>
            <a:r>
              <a:rPr lang="fr-BE" sz="1400" b="1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 management &amp; </a:t>
            </a:r>
            <a:r>
              <a:rPr lang="fr-BE" sz="1400" b="1" dirty="0" err="1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operational</a:t>
            </a:r>
            <a:r>
              <a:rPr lang="fr-BE" sz="1400" b="1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fr-BE" sz="1400" b="1" dirty="0" err="1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entities</a:t>
            </a:r>
            <a:endParaRPr lang="fr-BE" sz="1400" b="1" dirty="0">
              <a:solidFill>
                <a:schemeClr val="accent4">
                  <a:lumMod val="75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1709738" y="2786063"/>
            <a:ext cx="3213100" cy="412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400" b="1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Contract Management &amp; level 2 commitment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2124075" y="3313113"/>
            <a:ext cx="3213100" cy="3508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400" b="1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Implementation &amp; evaluation</a:t>
            </a:r>
          </a:p>
        </p:txBody>
      </p:sp>
      <p:sp>
        <p:nvSpPr>
          <p:cNvPr id="8198" name="Slide Number Placeholder 1"/>
          <p:cNvSpPr txBox="1">
            <a:spLocks/>
          </p:cNvSpPr>
          <p:nvPr/>
        </p:nvSpPr>
        <p:spPr bwMode="auto">
          <a:xfrm>
            <a:off x="4284663" y="6597650"/>
            <a:ext cx="431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FontTx/>
              <a:buNone/>
            </a:pPr>
            <a:fld id="{59935B15-6238-4B15-B068-E7746D14AF21}" type="slidenum">
              <a:rPr lang="en-GB" altLang="fr-FR" sz="1400" i="0">
                <a:solidFill>
                  <a:schemeClr val="bg1"/>
                </a:solidFill>
                <a:latin typeface="Arial" pitchFamily="34" charset="0"/>
                <a:ea typeface="ヒラギノ角ゴ ProN W3"/>
                <a:cs typeface="ヒラギノ角ゴ ProN W3"/>
                <a:sym typeface="Gill Sans"/>
              </a:rPr>
              <a:pPr algn="r" eaLnBrk="1" hangingPunct="1">
                <a:spcBef>
                  <a:spcPct val="0"/>
                </a:spcBef>
                <a:buClrTx/>
                <a:buFontTx/>
                <a:buNone/>
              </a:pPr>
              <a:t>10</a:t>
            </a:fld>
            <a:endParaRPr lang="en-GB" altLang="fr-FR" sz="1400" i="0">
              <a:solidFill>
                <a:schemeClr val="bg1"/>
              </a:solidFill>
              <a:latin typeface="Arial" pitchFamily="34" charset="0"/>
              <a:ea typeface="ヒラギノ角ゴ ProN W3"/>
              <a:cs typeface="ヒラギノ角ゴ ProN W3"/>
              <a:sym typeface="Gill Sans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192088" y="4941888"/>
            <a:ext cx="8640762" cy="1152525"/>
          </a:xfrm>
          <a:prstGeom prst="rect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marL="3175">
              <a:defRPr/>
            </a:pPr>
            <a:r>
              <a:rPr lang="fr-BE" sz="1600" b="1" dirty="0">
                <a:solidFill>
                  <a:srgbClr val="FFFFFF"/>
                </a:solidFill>
                <a:latin typeface="Georgia" panose="02040502050405020303" pitchFamily="18" charset="0"/>
              </a:rPr>
              <a:t>Transversal </a:t>
            </a:r>
            <a:r>
              <a:rPr lang="fr-BE" sz="1600" b="1" dirty="0" err="1">
                <a:solidFill>
                  <a:srgbClr val="FFFFFF"/>
                </a:solidFill>
                <a:latin typeface="Georgia" panose="02040502050405020303" pitchFamily="18" charset="0"/>
              </a:rPr>
              <a:t>projects</a:t>
            </a:r>
            <a:endParaRPr lang="fr-BE" sz="1600" b="1" dirty="0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508000" y="5373688"/>
            <a:ext cx="1898650" cy="574675"/>
          </a:xfrm>
          <a:prstGeom prst="rect">
            <a:avLst/>
          </a:prstGeom>
          <a:solidFill>
            <a:schemeClr val="accent3"/>
          </a:solidFill>
          <a:ln>
            <a:solidFill>
              <a:schemeClr val="accent3">
                <a:lumMod val="95000"/>
              </a:schemeClr>
            </a:solidFill>
          </a:ln>
          <a:effectLst/>
          <a:extLst/>
        </p:spPr>
        <p:txBody>
          <a:bodyPr anchor="ctr"/>
          <a:lstStyle/>
          <a:p>
            <a:pPr marL="3175" algn="ctr">
              <a:defRPr/>
            </a:pPr>
            <a:r>
              <a:rPr lang="fr-BE" sz="1400" b="1" dirty="0">
                <a:solidFill>
                  <a:schemeClr val="accent6"/>
                </a:solidFill>
                <a:latin typeface="Georgia" panose="02040502050405020303" pitchFamily="18" charset="0"/>
              </a:rPr>
              <a:t>Architecture and </a:t>
            </a:r>
          </a:p>
          <a:p>
            <a:pPr marL="3175" algn="ctr">
              <a:defRPr/>
            </a:pPr>
            <a:r>
              <a:rPr lang="fr-BE" sz="1400" b="1" dirty="0" err="1">
                <a:solidFill>
                  <a:schemeClr val="accent6"/>
                </a:solidFill>
                <a:latin typeface="Georgia" panose="02040502050405020303" pitchFamily="18" charset="0"/>
              </a:rPr>
              <a:t>re-use</a:t>
            </a:r>
            <a:r>
              <a:rPr lang="fr-BE" sz="1400" b="1" dirty="0">
                <a:solidFill>
                  <a:schemeClr val="accent6"/>
                </a:solidFill>
                <a:latin typeface="Georgia" panose="02040502050405020303" pitchFamily="18" charset="0"/>
              </a:rPr>
              <a:t> </a:t>
            </a:r>
            <a:r>
              <a:rPr lang="fr-BE" sz="1400" b="1" dirty="0" err="1">
                <a:solidFill>
                  <a:schemeClr val="accent6"/>
                </a:solidFill>
                <a:latin typeface="Georgia" panose="02040502050405020303" pitchFamily="18" charset="0"/>
              </a:rPr>
              <a:t>studies</a:t>
            </a:r>
            <a:endParaRPr lang="fr-BE" sz="1400" b="1" dirty="0">
              <a:solidFill>
                <a:schemeClr val="accent6"/>
              </a:solidFill>
              <a:latin typeface="Georgia" panose="02040502050405020303" pitchFamily="18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2811463" y="5372100"/>
            <a:ext cx="1414462" cy="576263"/>
          </a:xfrm>
          <a:prstGeom prst="rect">
            <a:avLst/>
          </a:prstGeom>
          <a:solidFill>
            <a:schemeClr val="accent3">
              <a:lumMod val="9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3175" algn="ctr">
              <a:defRPr/>
            </a:pPr>
            <a:r>
              <a:rPr lang="fr-BE" sz="1400" b="1" dirty="0" err="1">
                <a:solidFill>
                  <a:schemeClr val="accent6"/>
                </a:solidFill>
                <a:latin typeface="Georgia" panose="02040502050405020303" pitchFamily="18" charset="0"/>
              </a:rPr>
              <a:t>Taxonomy</a:t>
            </a:r>
            <a:endParaRPr lang="fr-BE" sz="1400" b="1" dirty="0">
              <a:solidFill>
                <a:schemeClr val="accent6"/>
              </a:solidFill>
              <a:latin typeface="Georgia" panose="02040502050405020303" pitchFamily="18" charset="0"/>
            </a:endParaRPr>
          </a:p>
        </p:txBody>
      </p:sp>
      <p:sp>
        <p:nvSpPr>
          <p:cNvPr id="8202" name="Title 1"/>
          <p:cNvSpPr>
            <a:spLocks noGrp="1"/>
          </p:cNvSpPr>
          <p:nvPr>
            <p:ph type="title"/>
          </p:nvPr>
        </p:nvSpPr>
        <p:spPr>
          <a:xfrm>
            <a:off x="242888" y="333375"/>
            <a:ext cx="6764337" cy="431800"/>
          </a:xfrm>
        </p:spPr>
        <p:txBody>
          <a:bodyPr/>
          <a:lstStyle/>
          <a:p>
            <a:pPr eaLnBrk="1" hangingPunct="1"/>
            <a:r>
              <a:rPr lang="fr-BE" altLang="en-US" sz="2400" smtClean="0">
                <a:solidFill>
                  <a:schemeClr val="bg1"/>
                </a:solidFill>
              </a:rPr>
              <a:t>OpSys Programme </a:t>
            </a:r>
            <a:endParaRPr lang="en-GB" altLang="en-US" sz="2400" smtClean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4697413" y="5372100"/>
            <a:ext cx="1593850" cy="574675"/>
          </a:xfrm>
          <a:prstGeom prst="rect">
            <a:avLst/>
          </a:prstGeom>
          <a:solidFill>
            <a:schemeClr val="accent3">
              <a:lumMod val="9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3175" algn="ctr">
              <a:defRPr/>
            </a:pPr>
            <a:r>
              <a:rPr lang="en-GB" sz="1400" b="1" dirty="0">
                <a:solidFill>
                  <a:schemeClr val="accent6"/>
                </a:solidFill>
                <a:latin typeface="Georgia" panose="02040502050405020303" pitchFamily="18" charset="0"/>
                <a:ea typeface="ヒラギノ角ゴ ProN W3" charset="0"/>
                <a:cs typeface="ヒラギノ角ゴ ProN W3" charset="0"/>
              </a:rPr>
              <a:t>Data Migration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2670175" y="3729038"/>
            <a:ext cx="3228975" cy="4318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400" b="1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Preparation of actions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3179763" y="4268788"/>
            <a:ext cx="3227387" cy="4318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400" b="1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Tendering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1068388" y="2324100"/>
            <a:ext cx="3228975" cy="3968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175">
              <a:spcAft>
                <a:spcPts val="600"/>
              </a:spcAft>
              <a:defRPr/>
            </a:pPr>
            <a:r>
              <a:rPr lang="fr-BE" sz="1400" b="1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Action management &amp; </a:t>
            </a:r>
            <a:r>
              <a:rPr lang="fr-BE" sz="1400" b="1" dirty="0" err="1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level</a:t>
            </a:r>
            <a:r>
              <a:rPr lang="fr-BE" sz="1400" b="1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 1 </a:t>
            </a:r>
            <a:r>
              <a:rPr lang="fr-BE" sz="1400" b="1" dirty="0" err="1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commitment</a:t>
            </a:r>
            <a:endParaRPr lang="fr-BE" sz="1400" b="1" dirty="0">
              <a:solidFill>
                <a:schemeClr val="accent4">
                  <a:lumMod val="75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8207" name="Oval 1"/>
          <p:cNvSpPr>
            <a:spLocks noChangeArrowheads="1"/>
          </p:cNvSpPr>
          <p:nvPr/>
        </p:nvSpPr>
        <p:spPr bwMode="auto">
          <a:xfrm>
            <a:off x="341313" y="1795463"/>
            <a:ext cx="346075" cy="336550"/>
          </a:xfrm>
          <a:prstGeom prst="ellipse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BE" altLang="en-US" sz="1400" b="1" i="0">
                <a:solidFill>
                  <a:schemeClr val="bg1"/>
                </a:solidFill>
              </a:rPr>
              <a:t>1</a:t>
            </a:r>
            <a:endParaRPr lang="en-GB" altLang="en-US" sz="1400" b="1" i="0">
              <a:solidFill>
                <a:schemeClr val="bg1"/>
              </a:solidFill>
            </a:endParaRPr>
          </a:p>
        </p:txBody>
      </p:sp>
      <p:sp>
        <p:nvSpPr>
          <p:cNvPr id="8208" name="Oval 29"/>
          <p:cNvSpPr>
            <a:spLocks noChangeArrowheads="1"/>
          </p:cNvSpPr>
          <p:nvPr/>
        </p:nvSpPr>
        <p:spPr bwMode="auto">
          <a:xfrm>
            <a:off x="757238" y="2270125"/>
            <a:ext cx="346075" cy="338138"/>
          </a:xfrm>
          <a:prstGeom prst="ellipse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400" b="1" i="0">
              <a:solidFill>
                <a:schemeClr val="bg1"/>
              </a:solidFill>
            </a:endParaRPr>
          </a:p>
        </p:txBody>
      </p:sp>
      <p:sp>
        <p:nvSpPr>
          <p:cNvPr id="8209" name="Rectangle 3"/>
          <p:cNvSpPr>
            <a:spLocks noChangeArrowheads="1"/>
          </p:cNvSpPr>
          <p:nvPr/>
        </p:nvSpPr>
        <p:spPr bwMode="auto">
          <a:xfrm>
            <a:off x="722313" y="2262188"/>
            <a:ext cx="4175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BE" altLang="en-US" sz="1200" b="1" i="0">
                <a:solidFill>
                  <a:schemeClr val="bg1"/>
                </a:solidFill>
              </a:rPr>
              <a:t>2A</a:t>
            </a:r>
            <a:endParaRPr lang="en-GB" altLang="en-US" sz="4400" b="1" i="0">
              <a:solidFill>
                <a:schemeClr val="bg1"/>
              </a:solidFill>
            </a:endParaRPr>
          </a:p>
        </p:txBody>
      </p:sp>
      <p:sp>
        <p:nvSpPr>
          <p:cNvPr id="8210" name="Oval 30"/>
          <p:cNvSpPr>
            <a:spLocks noChangeArrowheads="1"/>
          </p:cNvSpPr>
          <p:nvPr/>
        </p:nvSpPr>
        <p:spPr bwMode="auto">
          <a:xfrm>
            <a:off x="1400175" y="2676525"/>
            <a:ext cx="346075" cy="336550"/>
          </a:xfrm>
          <a:prstGeom prst="ellipse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400" b="1" i="0">
              <a:solidFill>
                <a:schemeClr val="bg1"/>
              </a:solidFill>
            </a:endParaRPr>
          </a:p>
        </p:txBody>
      </p:sp>
      <p:sp>
        <p:nvSpPr>
          <p:cNvPr id="8211" name="Rectangle 31"/>
          <p:cNvSpPr>
            <a:spLocks noChangeArrowheads="1"/>
          </p:cNvSpPr>
          <p:nvPr/>
        </p:nvSpPr>
        <p:spPr bwMode="auto">
          <a:xfrm>
            <a:off x="1365250" y="2706688"/>
            <a:ext cx="4143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BE" altLang="en-US" sz="1200" b="1" i="0">
                <a:solidFill>
                  <a:schemeClr val="bg1"/>
                </a:solidFill>
              </a:rPr>
              <a:t>2B</a:t>
            </a:r>
            <a:endParaRPr lang="en-GB" altLang="en-US" sz="4400" b="1" i="0">
              <a:solidFill>
                <a:schemeClr val="bg1"/>
              </a:solidFill>
            </a:endParaRPr>
          </a:p>
        </p:txBody>
      </p:sp>
      <p:sp>
        <p:nvSpPr>
          <p:cNvPr id="8212" name="Oval 32"/>
          <p:cNvSpPr>
            <a:spLocks noChangeArrowheads="1"/>
          </p:cNvSpPr>
          <p:nvPr/>
        </p:nvSpPr>
        <p:spPr bwMode="auto">
          <a:xfrm>
            <a:off x="1868488" y="3176588"/>
            <a:ext cx="346075" cy="338137"/>
          </a:xfrm>
          <a:prstGeom prst="ellipse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BE" altLang="en-US" sz="1400" b="1" i="0">
                <a:solidFill>
                  <a:schemeClr val="bg1"/>
                </a:solidFill>
              </a:rPr>
              <a:t>3</a:t>
            </a:r>
            <a:endParaRPr lang="en-GB" altLang="en-US" sz="1400" b="1" i="0">
              <a:solidFill>
                <a:schemeClr val="bg1"/>
              </a:solidFill>
            </a:endParaRPr>
          </a:p>
        </p:txBody>
      </p:sp>
      <p:sp>
        <p:nvSpPr>
          <p:cNvPr id="8213" name="Oval 34"/>
          <p:cNvSpPr>
            <a:spLocks noChangeArrowheads="1"/>
          </p:cNvSpPr>
          <p:nvPr/>
        </p:nvSpPr>
        <p:spPr bwMode="auto">
          <a:xfrm>
            <a:off x="2430463" y="3678238"/>
            <a:ext cx="344487" cy="338137"/>
          </a:xfrm>
          <a:prstGeom prst="ellipse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BE" altLang="en-US" sz="1400" b="1" i="0">
                <a:solidFill>
                  <a:schemeClr val="bg1"/>
                </a:solidFill>
              </a:rPr>
              <a:t>4</a:t>
            </a:r>
            <a:endParaRPr lang="en-GB" altLang="en-US" sz="1400" b="1" i="0">
              <a:solidFill>
                <a:schemeClr val="bg1"/>
              </a:solidFill>
            </a:endParaRPr>
          </a:p>
        </p:txBody>
      </p:sp>
      <p:sp>
        <p:nvSpPr>
          <p:cNvPr id="8214" name="Oval 35"/>
          <p:cNvSpPr>
            <a:spLocks noChangeArrowheads="1"/>
          </p:cNvSpPr>
          <p:nvPr/>
        </p:nvSpPr>
        <p:spPr bwMode="auto">
          <a:xfrm>
            <a:off x="3025775" y="4100513"/>
            <a:ext cx="344488" cy="336550"/>
          </a:xfrm>
          <a:prstGeom prst="ellipse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BE" altLang="en-US" sz="1400" b="1" i="0">
                <a:solidFill>
                  <a:schemeClr val="bg1"/>
                </a:solidFill>
              </a:rPr>
              <a:t>5</a:t>
            </a:r>
            <a:endParaRPr lang="en-GB" altLang="en-US" sz="1400" b="1" i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7524750" y="1900238"/>
            <a:ext cx="1243013" cy="18018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3175">
              <a:spcAft>
                <a:spcPts val="600"/>
              </a:spcAft>
              <a:defRPr/>
            </a:pPr>
            <a:r>
              <a:rPr lang="fr-BE" sz="1100" b="1" dirty="0" err="1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Dependencies</a:t>
            </a:r>
            <a:endParaRPr lang="fr-BE" sz="1100" b="1" dirty="0">
              <a:solidFill>
                <a:schemeClr val="accent4">
                  <a:lumMod val="75000"/>
                </a:schemeClr>
              </a:solidFill>
              <a:latin typeface="Georgia" panose="02040502050405020303" pitchFamily="18" charset="0"/>
            </a:endParaRPr>
          </a:p>
          <a:p>
            <a:pPr marL="3175">
              <a:spcBef>
                <a:spcPts val="600"/>
              </a:spcBef>
              <a:spcAft>
                <a:spcPts val="600"/>
              </a:spcAft>
              <a:defRPr/>
            </a:pPr>
            <a:r>
              <a:rPr lang="fr-BE" sz="1100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ABAC, </a:t>
            </a:r>
          </a:p>
          <a:p>
            <a:pPr marL="3175">
              <a:spcBef>
                <a:spcPts val="600"/>
              </a:spcBef>
              <a:spcAft>
                <a:spcPts val="0"/>
              </a:spcAft>
              <a:defRPr/>
            </a:pPr>
            <a:r>
              <a:rPr lang="fr-BE" sz="1100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HERMES, DECIDE</a:t>
            </a:r>
          </a:p>
          <a:p>
            <a:pPr marL="3175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1100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MIS</a:t>
            </a:r>
          </a:p>
          <a:p>
            <a:pPr marL="3175">
              <a:spcAft>
                <a:spcPts val="0"/>
              </a:spcAft>
              <a:defRPr/>
            </a:pPr>
            <a:r>
              <a:rPr lang="fr-BE" sz="1100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PROSPECT</a:t>
            </a:r>
          </a:p>
          <a:p>
            <a:pPr marL="3175">
              <a:spcAft>
                <a:spcPts val="0"/>
              </a:spcAft>
              <a:defRPr/>
            </a:pPr>
            <a:r>
              <a:rPr lang="fr-BE" sz="1100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ROM, EVAL</a:t>
            </a:r>
          </a:p>
          <a:p>
            <a:pPr marL="3175">
              <a:spcAft>
                <a:spcPts val="600"/>
              </a:spcAft>
              <a:defRPr/>
            </a:pPr>
            <a:r>
              <a:rPr lang="fr-BE" sz="1100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…</a:t>
            </a:r>
          </a:p>
        </p:txBody>
      </p:sp>
      <p:sp>
        <p:nvSpPr>
          <p:cNvPr id="40" name="Left-Right Arrow 39"/>
          <p:cNvSpPr/>
          <p:nvPr/>
        </p:nvSpPr>
        <p:spPr bwMode="auto">
          <a:xfrm>
            <a:off x="6227763" y="2628900"/>
            <a:ext cx="1296987" cy="547688"/>
          </a:xfrm>
          <a:prstGeom prst="leftRightArrow">
            <a:avLst/>
          </a:prstGeom>
          <a:solidFill>
            <a:schemeClr val="bg1"/>
          </a:solidFill>
          <a:ln>
            <a:noFill/>
          </a:ln>
          <a:ex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3175">
              <a:defRPr/>
            </a:pPr>
            <a:endParaRPr lang="en-GB" dirty="0">
              <a:solidFill>
                <a:srgbClr val="0F5494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6802438" y="5370513"/>
            <a:ext cx="1414462" cy="576262"/>
          </a:xfrm>
          <a:prstGeom prst="rect">
            <a:avLst/>
          </a:prstGeom>
          <a:solidFill>
            <a:schemeClr val="accent3">
              <a:lumMod val="9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3175" algn="ctr">
              <a:defRPr/>
            </a:pPr>
            <a:r>
              <a:rPr lang="fr-BE" sz="1400" b="1" dirty="0">
                <a:solidFill>
                  <a:schemeClr val="accent6"/>
                </a:solidFill>
                <a:latin typeface="Georgia" panose="02040502050405020303" pitchFamily="18" charset="0"/>
              </a:rPr>
              <a:t>Change Management</a:t>
            </a:r>
          </a:p>
        </p:txBody>
      </p:sp>
    </p:spTree>
    <p:extLst>
      <p:ext uri="{BB962C8B-B14F-4D97-AF65-F5344CB8AC3E}">
        <p14:creationId xmlns:p14="http://schemas.microsoft.com/office/powerpoint/2010/main" val="2379274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dirty="0" smtClean="0"/>
              <a:t>3. How do </a:t>
            </a:r>
            <a:r>
              <a:rPr lang="fr-BE" sz="2800" dirty="0" err="1" smtClean="0"/>
              <a:t>we</a:t>
            </a:r>
            <a:r>
              <a:rPr lang="fr-BE" sz="2800" dirty="0" smtClean="0"/>
              <a:t> </a:t>
            </a:r>
            <a:r>
              <a:rPr lang="fr-BE" sz="2800" dirty="0" err="1" smtClean="0"/>
              <a:t>work</a:t>
            </a:r>
            <a:r>
              <a:rPr lang="fr-BE" sz="2800" dirty="0" smtClean="0"/>
              <a:t> </a:t>
            </a:r>
            <a:r>
              <a:rPr lang="fr-BE" sz="2800" dirty="0" err="1" smtClean="0"/>
              <a:t>together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i="0" dirty="0" err="1" smtClean="0">
                <a:latin typeface="Georgia" panose="02040502050405020303" pitchFamily="18" charset="0"/>
              </a:rPr>
              <a:t>OpSys</a:t>
            </a:r>
            <a:r>
              <a:rPr lang="fr-BE" i="0" dirty="0" smtClean="0">
                <a:latin typeface="Georgia" panose="02040502050405020303" pitchFamily="18" charset="0"/>
              </a:rPr>
              <a:t> Programme </a:t>
            </a:r>
            <a:r>
              <a:rPr lang="fr-BE" i="0" dirty="0" err="1" smtClean="0">
                <a:latin typeface="Georgia" panose="02040502050405020303" pitchFamily="18" charset="0"/>
              </a:rPr>
              <a:t>governance</a:t>
            </a:r>
            <a:endParaRPr lang="fr-BE" i="0" dirty="0" smtClean="0">
              <a:latin typeface="Georgia" panose="02040502050405020303" pitchFamily="18" charset="0"/>
            </a:endParaRPr>
          </a:p>
          <a:p>
            <a:pPr>
              <a:buClr>
                <a:schemeClr val="accent2"/>
              </a:buClr>
              <a:buFont typeface="Wingdings" panose="05000000000000000000" pitchFamily="2" charset="2"/>
              <a:buChar char="ü"/>
            </a:pPr>
            <a:endParaRPr lang="fr-BE" i="0" dirty="0" smtClean="0">
              <a:latin typeface="Georgia" panose="02040502050405020303" pitchFamily="18" charset="0"/>
            </a:endParaRPr>
          </a:p>
          <a:p>
            <a:pPr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i="0" dirty="0" smtClean="0">
                <a:latin typeface="Georgia" panose="02040502050405020303" pitchFamily="18" charset="0"/>
              </a:rPr>
              <a:t>PUC </a:t>
            </a:r>
            <a:r>
              <a:rPr lang="fr-BE" i="0" dirty="0" err="1" smtClean="0">
                <a:latin typeface="Georgia" panose="02040502050405020303" pitchFamily="18" charset="0"/>
              </a:rPr>
              <a:t>role</a:t>
            </a:r>
            <a:r>
              <a:rPr lang="fr-BE" i="0" dirty="0" smtClean="0">
                <a:latin typeface="Georgia" panose="02040502050405020303" pitchFamily="18" charset="0"/>
              </a:rPr>
              <a:t> &amp; </a:t>
            </a:r>
            <a:r>
              <a:rPr lang="fr-BE" i="0" dirty="0" err="1" smtClean="0">
                <a:latin typeface="Georgia" panose="02040502050405020303" pitchFamily="18" charset="0"/>
              </a:rPr>
              <a:t>your</a:t>
            </a:r>
            <a:r>
              <a:rPr lang="fr-BE" i="0" dirty="0" smtClean="0">
                <a:latin typeface="Georgia" panose="02040502050405020303" pitchFamily="18" charset="0"/>
              </a:rPr>
              <a:t> </a:t>
            </a:r>
            <a:r>
              <a:rPr lang="fr-BE" i="0" dirty="0" err="1" smtClean="0">
                <a:latin typeface="Georgia" panose="02040502050405020303" pitchFamily="18" charset="0"/>
              </a:rPr>
              <a:t>responsibilities</a:t>
            </a:r>
            <a:endParaRPr lang="fr-BE" i="0" dirty="0" smtClean="0">
              <a:latin typeface="Georgia" panose="02040502050405020303" pitchFamily="18" charset="0"/>
            </a:endParaRPr>
          </a:p>
          <a:p>
            <a:pPr>
              <a:buClr>
                <a:schemeClr val="accent2"/>
              </a:buClr>
              <a:buFont typeface="Wingdings" panose="05000000000000000000" pitchFamily="2" charset="2"/>
              <a:buChar char="ü"/>
            </a:pPr>
            <a:endParaRPr lang="fr-BE" i="0" dirty="0" smtClean="0">
              <a:latin typeface="Georgia" panose="02040502050405020303" pitchFamily="18" charset="0"/>
            </a:endParaRPr>
          </a:p>
          <a:p>
            <a:pPr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i="0" dirty="0" smtClean="0">
                <a:latin typeface="Georgia" panose="02040502050405020303" pitchFamily="18" charset="0"/>
              </a:rPr>
              <a:t>Domain user group and objectives</a:t>
            </a:r>
          </a:p>
          <a:p>
            <a:pPr>
              <a:buClr>
                <a:schemeClr val="accent2"/>
              </a:buClr>
              <a:buFont typeface="Wingdings" panose="05000000000000000000" pitchFamily="2" charset="2"/>
              <a:buChar char="ü"/>
            </a:pPr>
            <a:endParaRPr lang="fr-BE" i="0" dirty="0">
              <a:latin typeface="Georgia" panose="02040502050405020303" pitchFamily="18" charset="0"/>
            </a:endParaRPr>
          </a:p>
          <a:p>
            <a:pPr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i="0" dirty="0" err="1" smtClean="0">
                <a:latin typeface="Georgia" panose="02040502050405020303" pitchFamily="18" charset="0"/>
              </a:rPr>
              <a:t>Working</a:t>
            </a:r>
            <a:r>
              <a:rPr lang="fr-BE" i="0" dirty="0" smtClean="0">
                <a:latin typeface="Georgia" panose="02040502050405020303" pitchFamily="18" charset="0"/>
              </a:rPr>
              <a:t> </a:t>
            </a:r>
            <a:r>
              <a:rPr lang="fr-BE" i="0" dirty="0" err="1" smtClean="0">
                <a:latin typeface="Georgia" panose="02040502050405020303" pitchFamily="18" charset="0"/>
              </a:rPr>
              <a:t>with</a:t>
            </a:r>
            <a:r>
              <a:rPr lang="fr-BE" i="0" dirty="0" smtClean="0">
                <a:latin typeface="Georgia" panose="02040502050405020303" pitchFamily="18" charset="0"/>
              </a:rPr>
              <a:t> EU </a:t>
            </a:r>
            <a:r>
              <a:rPr lang="fr-BE" i="0" dirty="0" err="1" smtClean="0">
                <a:latin typeface="Georgia" panose="02040502050405020303" pitchFamily="18" charset="0"/>
              </a:rPr>
              <a:t>Delegations</a:t>
            </a:r>
            <a:endParaRPr lang="fr-BE" i="0" dirty="0">
              <a:latin typeface="Georgia" panose="02040502050405020303" pitchFamily="18" charset="0"/>
            </a:endParaRPr>
          </a:p>
          <a:p>
            <a:endParaRPr lang="fr-BE" i="0" dirty="0" smtClean="0">
              <a:latin typeface="Georgia" panose="02040502050405020303" pitchFamily="18" charset="0"/>
            </a:endParaRPr>
          </a:p>
          <a:p>
            <a:endParaRPr lang="en-GB" i="0" dirty="0"/>
          </a:p>
        </p:txBody>
      </p:sp>
      <p:sp>
        <p:nvSpPr>
          <p:cNvPr id="6" name="Slide Number Placeholder 1"/>
          <p:cNvSpPr txBox="1">
            <a:spLocks/>
          </p:cNvSpPr>
          <p:nvPr/>
        </p:nvSpPr>
        <p:spPr bwMode="auto">
          <a:xfrm>
            <a:off x="4211960" y="6597352"/>
            <a:ext cx="504056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1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1631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26" name="Group 85"/>
          <p:cNvGrpSpPr>
            <a:grpSpLocks/>
          </p:cNvGrpSpPr>
          <p:nvPr/>
        </p:nvGrpSpPr>
        <p:grpSpPr bwMode="auto">
          <a:xfrm>
            <a:off x="2555776" y="4837708"/>
            <a:ext cx="5911850" cy="1347787"/>
            <a:chOff x="4065984" y="137670"/>
            <a:chExt cx="2030015" cy="1218009"/>
          </a:xfrm>
        </p:grpSpPr>
        <p:sp>
          <p:nvSpPr>
            <p:cNvPr id="87" name="Rectangle 86"/>
            <p:cNvSpPr/>
            <p:nvPr/>
          </p:nvSpPr>
          <p:spPr>
            <a:xfrm>
              <a:off x="4065984" y="137670"/>
              <a:ext cx="2030015" cy="1218009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0"/>
                <a:satOff val="0"/>
                <a:lumOff val="0"/>
                <a:alphaOff val="0"/>
              </a:schemeClr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8" name="Rectangle 87"/>
            <p:cNvSpPr/>
            <p:nvPr/>
          </p:nvSpPr>
          <p:spPr>
            <a:xfrm>
              <a:off x="4065984" y="137670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67640" tIns="167640" rIns="167640" bIns="167640" spcCol="1270" anchor="ctr"/>
            <a:lstStyle/>
            <a:p>
              <a:pPr defTabSz="195580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GB" sz="4400">
                <a:solidFill>
                  <a:srgbClr val="FFFFFF"/>
                </a:solidFill>
              </a:endParaRPr>
            </a:p>
          </p:txBody>
        </p:sp>
      </p:grpSp>
      <p:cxnSp>
        <p:nvCxnSpPr>
          <p:cNvPr id="76" name="Straight Arrow Connector 75"/>
          <p:cNvCxnSpPr/>
          <p:nvPr/>
        </p:nvCxnSpPr>
        <p:spPr bwMode="auto">
          <a:xfrm flipH="1" flipV="1">
            <a:off x="7315101" y="4612283"/>
            <a:ext cx="1588" cy="622300"/>
          </a:xfrm>
          <a:prstGeom prst="straightConnector1">
            <a:avLst/>
          </a:prstGeom>
          <a:ln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6628" name="Group 57"/>
          <p:cNvGrpSpPr>
            <a:grpSpLocks/>
          </p:cNvGrpSpPr>
          <p:nvPr/>
        </p:nvGrpSpPr>
        <p:grpSpPr bwMode="auto">
          <a:xfrm>
            <a:off x="6667401" y="5383808"/>
            <a:ext cx="1655763" cy="750887"/>
            <a:chOff x="3149500" y="1984"/>
            <a:chExt cx="2030015" cy="1218009"/>
          </a:xfrm>
        </p:grpSpPr>
        <p:sp>
          <p:nvSpPr>
            <p:cNvPr id="59" name="Rectangle 58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814257"/>
                <a:satOff val="2799"/>
                <a:lumOff val="-13432"/>
                <a:alphaOff val="0"/>
              </a:schemeClr>
            </a:fillRef>
            <a:effectRef idx="2">
              <a:schemeClr val="accent5">
                <a:hueOff val="814257"/>
                <a:satOff val="2799"/>
                <a:lumOff val="-1343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0" name="Rectangle 59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400" dirty="0">
                  <a:solidFill>
                    <a:srgbClr val="FFFFFF"/>
                  </a:solidFill>
                </a:rPr>
                <a:t>Other domains</a:t>
              </a:r>
            </a:p>
          </p:txBody>
        </p:sp>
      </p:grpSp>
      <p:grpSp>
        <p:nvGrpSpPr>
          <p:cNvPr id="26629" name="Group 49"/>
          <p:cNvGrpSpPr>
            <a:grpSpLocks/>
          </p:cNvGrpSpPr>
          <p:nvPr/>
        </p:nvGrpSpPr>
        <p:grpSpPr bwMode="auto">
          <a:xfrm>
            <a:off x="6602314" y="5342533"/>
            <a:ext cx="1655762" cy="750887"/>
            <a:chOff x="3149500" y="1984"/>
            <a:chExt cx="2030015" cy="1218009"/>
          </a:xfrm>
        </p:grpSpPr>
        <p:sp>
          <p:nvSpPr>
            <p:cNvPr id="51" name="Rectangle 50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814257"/>
                <a:satOff val="2799"/>
                <a:lumOff val="-13432"/>
                <a:alphaOff val="0"/>
              </a:schemeClr>
            </a:fillRef>
            <a:effectRef idx="2">
              <a:schemeClr val="accent5">
                <a:hueOff val="814257"/>
                <a:satOff val="2799"/>
                <a:lumOff val="-1343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2" name="Rectangle 51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400" dirty="0">
                  <a:solidFill>
                    <a:srgbClr val="FFFFFF"/>
                  </a:solidFill>
                </a:rPr>
                <a:t>Other domains</a:t>
              </a:r>
            </a:p>
          </p:txBody>
        </p:sp>
      </p:grpSp>
      <p:sp>
        <p:nvSpPr>
          <p:cNvPr id="26630" name="Title 1"/>
          <p:cNvSpPr>
            <a:spLocks noGrp="1"/>
          </p:cNvSpPr>
          <p:nvPr>
            <p:ph type="title"/>
          </p:nvPr>
        </p:nvSpPr>
        <p:spPr>
          <a:xfrm>
            <a:off x="230868" y="292050"/>
            <a:ext cx="8229600" cy="906463"/>
          </a:xfrm>
        </p:spPr>
        <p:txBody>
          <a:bodyPr/>
          <a:lstStyle/>
          <a:p>
            <a:r>
              <a:rPr lang="fr-FR" altLang="en-US" dirty="0" err="1" smtClean="0">
                <a:solidFill>
                  <a:schemeClr val="bg1"/>
                </a:solidFill>
              </a:rPr>
              <a:t>Governance</a:t>
            </a:r>
            <a:r>
              <a:rPr lang="fr-FR" altLang="en-US" dirty="0" smtClean="0">
                <a:solidFill>
                  <a:schemeClr val="bg1"/>
                </a:solidFill>
              </a:rPr>
              <a:t> </a:t>
            </a:r>
            <a:br>
              <a:rPr lang="fr-FR" altLang="en-US" dirty="0" smtClean="0">
                <a:solidFill>
                  <a:schemeClr val="bg1"/>
                </a:solidFill>
              </a:rPr>
            </a:br>
            <a:r>
              <a:rPr lang="fr-FR" altLang="en-US" dirty="0" err="1" smtClean="0">
                <a:solidFill>
                  <a:schemeClr val="bg1"/>
                </a:solidFill>
              </a:rPr>
              <a:t>overview</a:t>
            </a:r>
            <a:r>
              <a:rPr lang="fr-FR" altLang="en-US" dirty="0">
                <a:solidFill>
                  <a:schemeClr val="bg1"/>
                </a:solidFill>
              </a:rPr>
              <a:t/>
            </a:r>
            <a:br>
              <a:rPr lang="fr-FR" altLang="en-US" dirty="0">
                <a:solidFill>
                  <a:schemeClr val="bg1"/>
                </a:solidFill>
              </a:rPr>
            </a:br>
            <a:endParaRPr lang="en-GB" altLang="en-US" dirty="0" smtClean="0">
              <a:solidFill>
                <a:schemeClr val="bg1"/>
              </a:solidFill>
            </a:endParaRPr>
          </a:p>
        </p:txBody>
      </p:sp>
      <p:grpSp>
        <p:nvGrpSpPr>
          <p:cNvPr id="26631" name="Group 20"/>
          <p:cNvGrpSpPr>
            <a:grpSpLocks/>
          </p:cNvGrpSpPr>
          <p:nvPr/>
        </p:nvGrpSpPr>
        <p:grpSpPr bwMode="auto">
          <a:xfrm>
            <a:off x="2700239" y="5275858"/>
            <a:ext cx="1655762" cy="750887"/>
            <a:chOff x="3149500" y="1984"/>
            <a:chExt cx="2030015" cy="1218009"/>
          </a:xfrm>
        </p:grpSpPr>
        <p:sp>
          <p:nvSpPr>
            <p:cNvPr id="31" name="Rectangle 30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814257"/>
                <a:satOff val="2799"/>
                <a:lumOff val="-13432"/>
                <a:alphaOff val="0"/>
              </a:schemeClr>
            </a:fillRef>
            <a:effectRef idx="2">
              <a:schemeClr val="accent5">
                <a:hueOff val="814257"/>
                <a:satOff val="2799"/>
                <a:lumOff val="-1343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Rectangle 31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400" dirty="0">
                  <a:solidFill>
                    <a:srgbClr val="FFFFFF"/>
                  </a:solidFill>
                </a:rPr>
                <a:t>Results Management</a:t>
              </a:r>
            </a:p>
          </p:txBody>
        </p:sp>
      </p:grpSp>
      <p:grpSp>
        <p:nvGrpSpPr>
          <p:cNvPr id="26632" name="Group 21"/>
          <p:cNvGrpSpPr>
            <a:grpSpLocks/>
          </p:cNvGrpSpPr>
          <p:nvPr/>
        </p:nvGrpSpPr>
        <p:grpSpPr bwMode="auto">
          <a:xfrm>
            <a:off x="2555776" y="3799483"/>
            <a:ext cx="5911850" cy="750887"/>
            <a:chOff x="916483" y="1422995"/>
            <a:chExt cx="2030015" cy="1218009"/>
          </a:xfrm>
        </p:grpSpPr>
        <p:sp>
          <p:nvSpPr>
            <p:cNvPr id="29" name="Rectangle 28"/>
            <p:cNvSpPr/>
            <p:nvPr/>
          </p:nvSpPr>
          <p:spPr>
            <a:xfrm>
              <a:off x="916483" y="1422995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1628513"/>
                <a:satOff val="5598"/>
                <a:lumOff val="-26863"/>
                <a:alphaOff val="0"/>
              </a:schemeClr>
            </a:fillRef>
            <a:effectRef idx="2">
              <a:schemeClr val="accent5">
                <a:hueOff val="1628513"/>
                <a:satOff val="5598"/>
                <a:lumOff val="-26863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916483" y="1422995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2000" dirty="0">
                  <a:solidFill>
                    <a:srgbClr val="FFFFFF"/>
                  </a:solidFill>
                </a:rPr>
                <a:t>OpSys Programme User Committee (PUC)</a:t>
              </a:r>
            </a:p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200" dirty="0">
                  <a:solidFill>
                    <a:srgbClr val="FFFFFF"/>
                  </a:solidFill>
                </a:rPr>
                <a:t>HQ &amp; EUD rep. from DEVCO/NEAR/FPI/ECHO/EEAS dir.</a:t>
              </a:r>
            </a:p>
          </p:txBody>
        </p:sp>
      </p:grpSp>
      <p:grpSp>
        <p:nvGrpSpPr>
          <p:cNvPr id="26633" name="Group 22"/>
          <p:cNvGrpSpPr>
            <a:grpSpLocks/>
          </p:cNvGrpSpPr>
          <p:nvPr/>
        </p:nvGrpSpPr>
        <p:grpSpPr bwMode="auto">
          <a:xfrm>
            <a:off x="2555776" y="2750145"/>
            <a:ext cx="5911850" cy="760413"/>
            <a:chOff x="3149500" y="1422995"/>
            <a:chExt cx="2030015" cy="1218009"/>
          </a:xfrm>
        </p:grpSpPr>
        <p:sp>
          <p:nvSpPr>
            <p:cNvPr id="27" name="Rectangle 26"/>
            <p:cNvSpPr/>
            <p:nvPr/>
          </p:nvSpPr>
          <p:spPr>
            <a:xfrm>
              <a:off x="3149500" y="1422995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2442770"/>
                <a:satOff val="8397"/>
                <a:lumOff val="-40295"/>
                <a:alphaOff val="0"/>
              </a:schemeClr>
            </a:fillRef>
            <a:effectRef idx="2">
              <a:schemeClr val="accent5">
                <a:hueOff val="2442770"/>
                <a:satOff val="8397"/>
                <a:lumOff val="-40295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3149500" y="1422995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2000" dirty="0">
                  <a:solidFill>
                    <a:srgbClr val="FFFFFF"/>
                  </a:solidFill>
                </a:rPr>
                <a:t>OpSys PSC</a:t>
              </a:r>
            </a:p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200" dirty="0">
                  <a:solidFill>
                    <a:srgbClr val="FFFFFF"/>
                  </a:solidFill>
                </a:rPr>
                <a:t>DEVCO &amp; NEAR dir. + FPI + DIGIT + ad hoc DGs</a:t>
              </a:r>
            </a:p>
          </p:txBody>
        </p:sp>
      </p:grpSp>
      <p:grpSp>
        <p:nvGrpSpPr>
          <p:cNvPr id="26634" name="Group 23"/>
          <p:cNvGrpSpPr>
            <a:grpSpLocks/>
          </p:cNvGrpSpPr>
          <p:nvPr/>
        </p:nvGrpSpPr>
        <p:grpSpPr bwMode="auto">
          <a:xfrm>
            <a:off x="2555776" y="1700808"/>
            <a:ext cx="2030413" cy="760412"/>
            <a:chOff x="2032992" y="2844006"/>
            <a:chExt cx="2030015" cy="1218009"/>
          </a:xfrm>
        </p:grpSpPr>
        <p:sp>
          <p:nvSpPr>
            <p:cNvPr id="25" name="Rectangle 24"/>
            <p:cNvSpPr/>
            <p:nvPr/>
          </p:nvSpPr>
          <p:spPr>
            <a:xfrm>
              <a:off x="2032992" y="2844006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3257026"/>
                <a:satOff val="11196"/>
                <a:lumOff val="-53726"/>
                <a:alphaOff val="0"/>
              </a:schemeClr>
            </a:fillRef>
            <a:effectRef idx="2">
              <a:schemeClr val="accent5">
                <a:hueOff val="3257026"/>
                <a:satOff val="11196"/>
                <a:lumOff val="-5372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2032992" y="2844006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2000" dirty="0">
                  <a:solidFill>
                    <a:srgbClr val="FFFFFF"/>
                  </a:solidFill>
                </a:rPr>
                <a:t>DEVCO IT SC</a:t>
              </a:r>
            </a:p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200" dirty="0">
                  <a:solidFill>
                    <a:srgbClr val="FFFFFF"/>
                  </a:solidFill>
                </a:rPr>
                <a:t>Incl. NEAR and FPI rep.</a:t>
              </a:r>
            </a:p>
          </p:txBody>
        </p:sp>
      </p:grpSp>
      <p:grpSp>
        <p:nvGrpSpPr>
          <p:cNvPr id="26635" name="Group 34"/>
          <p:cNvGrpSpPr>
            <a:grpSpLocks/>
          </p:cNvGrpSpPr>
          <p:nvPr/>
        </p:nvGrpSpPr>
        <p:grpSpPr bwMode="auto">
          <a:xfrm>
            <a:off x="6437214" y="1700808"/>
            <a:ext cx="2030412" cy="760412"/>
            <a:chOff x="2032992" y="2844006"/>
            <a:chExt cx="2030015" cy="1218009"/>
          </a:xfrm>
        </p:grpSpPr>
        <p:sp>
          <p:nvSpPr>
            <p:cNvPr id="36" name="Rectangle 35"/>
            <p:cNvSpPr/>
            <p:nvPr/>
          </p:nvSpPr>
          <p:spPr>
            <a:xfrm>
              <a:off x="2032992" y="2844006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3257026"/>
                <a:satOff val="11196"/>
                <a:lumOff val="-53726"/>
                <a:alphaOff val="0"/>
              </a:schemeClr>
            </a:fillRef>
            <a:effectRef idx="2">
              <a:schemeClr val="accent5">
                <a:hueOff val="3257026"/>
                <a:satOff val="11196"/>
                <a:lumOff val="-5372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Rectangle 36"/>
            <p:cNvSpPr/>
            <p:nvPr/>
          </p:nvSpPr>
          <p:spPr>
            <a:xfrm>
              <a:off x="2032992" y="2844006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2000" dirty="0">
                  <a:solidFill>
                    <a:srgbClr val="FFFFFF"/>
                  </a:solidFill>
                </a:rPr>
                <a:t>NEAR IT SC</a:t>
              </a:r>
            </a:p>
          </p:txBody>
        </p:sp>
      </p:grpSp>
      <p:grpSp>
        <p:nvGrpSpPr>
          <p:cNvPr id="26636" name="Group 40"/>
          <p:cNvGrpSpPr>
            <a:grpSpLocks/>
          </p:cNvGrpSpPr>
          <p:nvPr/>
        </p:nvGrpSpPr>
        <p:grpSpPr bwMode="auto">
          <a:xfrm>
            <a:off x="4571901" y="5275858"/>
            <a:ext cx="1657350" cy="750887"/>
            <a:chOff x="3149500" y="1984"/>
            <a:chExt cx="2030015" cy="1218009"/>
          </a:xfrm>
        </p:grpSpPr>
        <p:sp>
          <p:nvSpPr>
            <p:cNvPr id="42" name="Rectangle 41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814257"/>
                <a:satOff val="2799"/>
                <a:lumOff val="-13432"/>
                <a:alphaOff val="0"/>
              </a:schemeClr>
            </a:fillRef>
            <a:effectRef idx="2">
              <a:schemeClr val="accent5">
                <a:hueOff val="814257"/>
                <a:satOff val="2799"/>
                <a:lumOff val="-1343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Rectangle 42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400" dirty="0">
                  <a:solidFill>
                    <a:srgbClr val="FFFFFF"/>
                  </a:solidFill>
                </a:rPr>
                <a:t>Contract Management</a:t>
              </a:r>
            </a:p>
          </p:txBody>
        </p:sp>
      </p:grpSp>
      <p:grpSp>
        <p:nvGrpSpPr>
          <p:cNvPr id="26637" name="Group 46"/>
          <p:cNvGrpSpPr>
            <a:grpSpLocks/>
          </p:cNvGrpSpPr>
          <p:nvPr/>
        </p:nvGrpSpPr>
        <p:grpSpPr bwMode="auto">
          <a:xfrm>
            <a:off x="6522939" y="5310783"/>
            <a:ext cx="1657350" cy="750887"/>
            <a:chOff x="3149500" y="1984"/>
            <a:chExt cx="2030015" cy="1218009"/>
          </a:xfrm>
        </p:grpSpPr>
        <p:sp>
          <p:nvSpPr>
            <p:cNvPr id="48" name="Rectangle 47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814257"/>
                <a:satOff val="2799"/>
                <a:lumOff val="-13432"/>
                <a:alphaOff val="0"/>
              </a:schemeClr>
            </a:fillRef>
            <a:effectRef idx="2">
              <a:schemeClr val="accent5">
                <a:hueOff val="814257"/>
                <a:satOff val="2799"/>
                <a:lumOff val="-1343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9" name="Rectangle 48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400" dirty="0">
                  <a:solidFill>
                    <a:srgbClr val="FFFFFF"/>
                  </a:solidFill>
                </a:rPr>
                <a:t>Contract Management</a:t>
              </a:r>
            </a:p>
          </p:txBody>
        </p:sp>
      </p:grpSp>
      <p:sp>
        <p:nvSpPr>
          <p:cNvPr id="54" name="Rectangle 53"/>
          <p:cNvSpPr/>
          <p:nvPr/>
        </p:nvSpPr>
        <p:spPr>
          <a:xfrm>
            <a:off x="355501" y="1705570"/>
            <a:ext cx="3311525" cy="75565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0010" tIns="80010" rIns="80010" bIns="80010" spcCol="1270" anchor="ctr"/>
          <a:lstStyle/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dirty="0">
                <a:solidFill>
                  <a:srgbClr val="333399"/>
                </a:solidFill>
              </a:rPr>
              <a:t>2-3 times / year </a:t>
            </a:r>
            <a:endParaRPr lang="en-GB" sz="900" dirty="0">
              <a:solidFill>
                <a:srgbClr val="333399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355501" y="2751733"/>
            <a:ext cx="2170113" cy="75723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0010" tIns="80010" rIns="80010" bIns="80010" spcCol="1270" anchor="ctr"/>
          <a:lstStyle/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dirty="0">
                <a:solidFill>
                  <a:srgbClr val="333399"/>
                </a:solidFill>
              </a:rPr>
              <a:t>Chair: DEVCO DDG2</a:t>
            </a:r>
          </a:p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dirty="0" smtClean="0">
                <a:solidFill>
                  <a:srgbClr val="333399"/>
                </a:solidFill>
              </a:rPr>
              <a:t>Every 2 months + ad hoc</a:t>
            </a:r>
            <a:endParaRPr lang="en-GB" sz="900" dirty="0">
              <a:solidFill>
                <a:srgbClr val="333399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331689" y="3848695"/>
            <a:ext cx="3311525" cy="75565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0010" tIns="80010" rIns="80010" bIns="80010" spcCol="1270" anchor="ctr"/>
          <a:lstStyle/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dirty="0">
                <a:solidFill>
                  <a:srgbClr val="333399"/>
                </a:solidFill>
              </a:rPr>
              <a:t>Chair: DEVCO 05</a:t>
            </a:r>
          </a:p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dirty="0">
                <a:solidFill>
                  <a:srgbClr val="333399"/>
                </a:solidFill>
              </a:rPr>
              <a:t>Every 2 months</a:t>
            </a:r>
            <a:endParaRPr lang="en-GB" sz="900" dirty="0">
              <a:solidFill>
                <a:srgbClr val="333399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331689" y="5271095"/>
            <a:ext cx="3311525" cy="75565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0010" tIns="80010" rIns="80010" bIns="80010" spcCol="1270" anchor="ctr"/>
          <a:lstStyle/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dirty="0">
                <a:solidFill>
                  <a:srgbClr val="333399"/>
                </a:solidFill>
              </a:rPr>
              <a:t>Chair: </a:t>
            </a:r>
            <a:r>
              <a:rPr lang="en-GB" sz="1200" dirty="0" smtClean="0">
                <a:solidFill>
                  <a:srgbClr val="333399"/>
                </a:solidFill>
              </a:rPr>
              <a:t>BMs</a:t>
            </a:r>
          </a:p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endParaRPr lang="en-GB" sz="1200" dirty="0">
              <a:solidFill>
                <a:srgbClr val="333399"/>
              </a:solidFill>
            </a:endParaRPr>
          </a:p>
        </p:txBody>
      </p:sp>
      <p:grpSp>
        <p:nvGrpSpPr>
          <p:cNvPr id="26642" name="Group 43"/>
          <p:cNvGrpSpPr>
            <a:grpSpLocks/>
          </p:cNvGrpSpPr>
          <p:nvPr/>
        </p:nvGrpSpPr>
        <p:grpSpPr bwMode="auto">
          <a:xfrm>
            <a:off x="6445151" y="5275858"/>
            <a:ext cx="1655763" cy="750887"/>
            <a:chOff x="3149500" y="1984"/>
            <a:chExt cx="2030015" cy="1218009"/>
          </a:xfrm>
        </p:grpSpPr>
        <p:sp>
          <p:nvSpPr>
            <p:cNvPr id="45" name="Rectangle 44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814257"/>
                <a:satOff val="2799"/>
                <a:lumOff val="-13432"/>
                <a:alphaOff val="0"/>
              </a:schemeClr>
            </a:fillRef>
            <a:effectRef idx="2">
              <a:schemeClr val="accent5">
                <a:hueOff val="814257"/>
                <a:satOff val="2799"/>
                <a:lumOff val="-1343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6" name="Rectangle 45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400" dirty="0">
                  <a:solidFill>
                    <a:srgbClr val="FFFFFF"/>
                  </a:solidFill>
                </a:rPr>
                <a:t>Other </a:t>
              </a:r>
              <a:r>
                <a:rPr lang="en-GB" sz="1400" dirty="0" smtClean="0">
                  <a:solidFill>
                    <a:srgbClr val="FFFFFF"/>
                  </a:solidFill>
                </a:rPr>
                <a:t>domains and focus group</a:t>
              </a:r>
              <a:endParaRPr lang="en-GB" sz="140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67" name="Straight Arrow Connector 66"/>
          <p:cNvCxnSpPr/>
          <p:nvPr/>
        </p:nvCxnSpPr>
        <p:spPr bwMode="auto">
          <a:xfrm flipV="1">
            <a:off x="3578126" y="3539133"/>
            <a:ext cx="0" cy="246062"/>
          </a:xfrm>
          <a:prstGeom prst="straightConnector1">
            <a:avLst/>
          </a:prstGeom>
          <a:ln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 bwMode="auto">
          <a:xfrm flipV="1">
            <a:off x="3557489" y="2481858"/>
            <a:ext cx="0" cy="247650"/>
          </a:xfrm>
          <a:prstGeom prst="straightConnector1">
            <a:avLst/>
          </a:prstGeom>
          <a:ln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/>
          <p:nvPr/>
        </p:nvCxnSpPr>
        <p:spPr bwMode="auto">
          <a:xfrm flipH="1" flipV="1">
            <a:off x="3559076" y="4604345"/>
            <a:ext cx="1588" cy="622300"/>
          </a:xfrm>
          <a:prstGeom prst="straightConnector1">
            <a:avLst/>
          </a:prstGeom>
          <a:ln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 bwMode="auto">
          <a:xfrm flipH="1" flipV="1">
            <a:off x="5443439" y="4604345"/>
            <a:ext cx="0" cy="622300"/>
          </a:xfrm>
          <a:prstGeom prst="straightConnector1">
            <a:avLst/>
          </a:prstGeom>
          <a:ln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2555776" y="4910733"/>
            <a:ext cx="5911850" cy="23653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0010" tIns="80010" rIns="80010" bIns="80010" spcCol="1270" anchor="ctr"/>
          <a:lstStyle/>
          <a:p>
            <a:pPr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2000" dirty="0">
                <a:solidFill>
                  <a:srgbClr val="FFFFFF"/>
                </a:solidFill>
              </a:rPr>
              <a:t>OpSys Domain User Groups</a:t>
            </a:r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2299" name="Right Arrow 12298"/>
          <p:cNvSpPr/>
          <p:nvPr/>
        </p:nvSpPr>
        <p:spPr bwMode="auto">
          <a:xfrm>
            <a:off x="4729064" y="1700808"/>
            <a:ext cx="1571625" cy="361950"/>
          </a:xfrm>
          <a:prstGeom prst="rightArrow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marL="3175">
              <a:defRPr/>
            </a:pPr>
            <a:r>
              <a:rPr lang="en-GB" sz="1200" dirty="0">
                <a:solidFill>
                  <a:srgbClr val="FFFFFF"/>
                </a:solidFill>
              </a:rPr>
              <a:t>informs</a:t>
            </a:r>
          </a:p>
        </p:txBody>
      </p:sp>
      <p:sp>
        <p:nvSpPr>
          <p:cNvPr id="84" name="Right Arrow 83"/>
          <p:cNvSpPr/>
          <p:nvPr/>
        </p:nvSpPr>
        <p:spPr bwMode="auto">
          <a:xfrm flipH="1">
            <a:off x="4722714" y="2084983"/>
            <a:ext cx="1577975" cy="361950"/>
          </a:xfrm>
          <a:prstGeom prst="rightArrow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marL="3175">
              <a:defRPr/>
            </a:pPr>
            <a:r>
              <a:rPr lang="en-GB" sz="1200" dirty="0">
                <a:solidFill>
                  <a:srgbClr val="FFFFFF"/>
                </a:solidFill>
              </a:rPr>
              <a:t>endorses</a:t>
            </a:r>
          </a:p>
        </p:txBody>
      </p:sp>
      <p:sp>
        <p:nvSpPr>
          <p:cNvPr id="50" name="Slide Number Placeholder 1"/>
          <p:cNvSpPr txBox="1">
            <a:spLocks/>
          </p:cNvSpPr>
          <p:nvPr/>
        </p:nvSpPr>
        <p:spPr bwMode="auto">
          <a:xfrm>
            <a:off x="4147344" y="6134397"/>
            <a:ext cx="437704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2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216595" y="1126133"/>
            <a:ext cx="3311525" cy="75565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0010" tIns="80010" rIns="80010" bIns="80010" spcCol="1270" anchor="ctr"/>
          <a:lstStyle/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b="1" dirty="0" smtClean="0">
                <a:solidFill>
                  <a:srgbClr val="333399"/>
                </a:solidFill>
              </a:rPr>
              <a:t>System owner = DEVCO 05</a:t>
            </a:r>
            <a:endParaRPr lang="en-GB" sz="900" b="1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546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169168" y="15498"/>
            <a:ext cx="8229600" cy="936625"/>
          </a:xfrm>
        </p:spPr>
        <p:txBody>
          <a:bodyPr/>
          <a:lstStyle/>
          <a:p>
            <a:r>
              <a:rPr lang="en-GB" altLang="fr-FR" dirty="0" smtClean="0">
                <a:solidFill>
                  <a:schemeClr val="bg1"/>
                </a:solidFill>
              </a:rPr>
              <a:t>PUC </a:t>
            </a:r>
          </a:p>
        </p:txBody>
      </p:sp>
      <p:sp>
        <p:nvSpPr>
          <p:cNvPr id="28675" name="Content Placeholder 1"/>
          <p:cNvSpPr>
            <a:spLocks noGrp="1"/>
          </p:cNvSpPr>
          <p:nvPr>
            <p:ph idx="1"/>
          </p:nvPr>
        </p:nvSpPr>
        <p:spPr>
          <a:xfrm>
            <a:off x="250590" y="1363373"/>
            <a:ext cx="8504460" cy="4752528"/>
          </a:xfrm>
        </p:spPr>
        <p:txBody>
          <a:bodyPr/>
          <a:lstStyle/>
          <a:p>
            <a:pPr defTabSz="93345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altLang="fr-FR" b="1" i="0" dirty="0" smtClean="0">
                <a:solidFill>
                  <a:srgbClr val="0070C0"/>
                </a:solidFill>
              </a:rPr>
              <a:t>Mandate</a:t>
            </a:r>
            <a:r>
              <a:rPr lang="en-GB" altLang="fr-FR" i="0" dirty="0" smtClean="0">
                <a:solidFill>
                  <a:srgbClr val="0070C0"/>
                </a:solidFill>
              </a:rPr>
              <a:t>: will be validated at PSC of 1</a:t>
            </a:r>
            <a:r>
              <a:rPr lang="en-GB" altLang="fr-FR" i="0" baseline="30000" dirty="0" smtClean="0">
                <a:solidFill>
                  <a:srgbClr val="0070C0"/>
                </a:solidFill>
              </a:rPr>
              <a:t>st</a:t>
            </a:r>
            <a:r>
              <a:rPr lang="en-GB" altLang="fr-FR" i="0" dirty="0" smtClean="0">
                <a:solidFill>
                  <a:srgbClr val="0070C0"/>
                </a:solidFill>
              </a:rPr>
              <a:t> Feb </a:t>
            </a:r>
          </a:p>
          <a:p>
            <a:pPr defTabSz="93345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altLang="fr-FR" b="1" i="0" dirty="0" smtClean="0">
                <a:solidFill>
                  <a:srgbClr val="0070C0"/>
                </a:solidFill>
              </a:rPr>
              <a:t>Composition</a:t>
            </a:r>
            <a:r>
              <a:rPr lang="en-GB" altLang="fr-FR" i="0" dirty="0">
                <a:solidFill>
                  <a:srgbClr val="0070C0"/>
                </a:solidFill>
              </a:rPr>
              <a:t>: </a:t>
            </a:r>
            <a:r>
              <a:rPr lang="en-GB" i="0" dirty="0">
                <a:solidFill>
                  <a:srgbClr val="0070C0"/>
                </a:solidFill>
              </a:rPr>
              <a:t>HQ &amp; EUD </a:t>
            </a:r>
            <a:r>
              <a:rPr lang="en-GB" i="0" dirty="0" smtClean="0">
                <a:solidFill>
                  <a:srgbClr val="0070C0"/>
                </a:solidFill>
              </a:rPr>
              <a:t>representatives </a:t>
            </a:r>
            <a:r>
              <a:rPr lang="en-GB" i="0" dirty="0">
                <a:solidFill>
                  <a:srgbClr val="0070C0"/>
                </a:solidFill>
              </a:rPr>
              <a:t>from DEVCO/NEAR/FPI/ECHO/EEAS dir.</a:t>
            </a:r>
          </a:p>
          <a:p>
            <a:pPr>
              <a:spcAft>
                <a:spcPts val="600"/>
              </a:spcAft>
            </a:pPr>
            <a:r>
              <a:rPr lang="fr-BE" altLang="fr-FR" b="1" i="0" dirty="0" smtClean="0">
                <a:solidFill>
                  <a:srgbClr val="0070C0"/>
                </a:solidFill>
              </a:rPr>
              <a:t>PUC </a:t>
            </a:r>
            <a:r>
              <a:rPr lang="fr-BE" altLang="fr-FR" b="1" i="0" dirty="0" err="1" smtClean="0">
                <a:solidFill>
                  <a:srgbClr val="0070C0"/>
                </a:solidFill>
              </a:rPr>
              <a:t>responsibilities</a:t>
            </a:r>
            <a:r>
              <a:rPr lang="fr-BE" altLang="fr-FR" b="1" i="0" dirty="0" smtClean="0">
                <a:solidFill>
                  <a:srgbClr val="0070C0"/>
                </a:solidFill>
              </a:rPr>
              <a:t>:</a:t>
            </a:r>
            <a:endParaRPr lang="en-GB" altLang="fr-FR" b="1" i="0" dirty="0" smtClean="0">
              <a:solidFill>
                <a:srgbClr val="0070C0"/>
              </a:solidFill>
            </a:endParaRP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400" b="0" dirty="0" smtClean="0">
                <a:solidFill>
                  <a:srgbClr val="0070C0"/>
                </a:solidFill>
              </a:rPr>
              <a:t> Propose </a:t>
            </a:r>
            <a:r>
              <a:rPr lang="en-GB" altLang="fr-FR" sz="2400" b="0" dirty="0">
                <a:solidFill>
                  <a:srgbClr val="0070C0"/>
                </a:solidFill>
              </a:rPr>
              <a:t>final business requirements to </a:t>
            </a:r>
            <a:r>
              <a:rPr lang="en-GB" altLang="fr-FR" sz="2400" b="0" dirty="0" smtClean="0">
                <a:solidFill>
                  <a:srgbClr val="0070C0"/>
                </a:solidFill>
              </a:rPr>
              <a:t>PSC</a:t>
            </a: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400" b="0" dirty="0" smtClean="0">
                <a:solidFill>
                  <a:srgbClr val="0070C0"/>
                </a:solidFill>
              </a:rPr>
              <a:t> Contribute to </a:t>
            </a:r>
            <a:r>
              <a:rPr lang="en-GB" altLang="fr-FR" sz="2400" b="0" dirty="0">
                <a:solidFill>
                  <a:srgbClr val="0070C0"/>
                </a:solidFill>
              </a:rPr>
              <a:t>general and transversal issues (harmonisation</a:t>
            </a:r>
            <a:r>
              <a:rPr lang="en-GB" altLang="fr-FR" sz="2400" b="0" dirty="0" smtClean="0">
                <a:solidFill>
                  <a:srgbClr val="0070C0"/>
                </a:solidFill>
              </a:rPr>
              <a:t>)</a:t>
            </a: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400" b="0" dirty="0" smtClean="0">
                <a:solidFill>
                  <a:srgbClr val="0070C0"/>
                </a:solidFill>
              </a:rPr>
              <a:t> Compliance with </a:t>
            </a:r>
            <a:r>
              <a:rPr lang="en-GB" altLang="fr-FR" sz="2400" b="0" dirty="0" err="1" smtClean="0">
                <a:solidFill>
                  <a:srgbClr val="0070C0"/>
                </a:solidFill>
              </a:rPr>
              <a:t>Opsys</a:t>
            </a:r>
            <a:r>
              <a:rPr lang="en-GB" altLang="fr-FR" sz="2400" b="0" dirty="0" smtClean="0">
                <a:solidFill>
                  <a:srgbClr val="0070C0"/>
                </a:solidFill>
              </a:rPr>
              <a:t> vision</a:t>
            </a: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400" b="0" dirty="0" smtClean="0">
                <a:solidFill>
                  <a:srgbClr val="0070C0"/>
                </a:solidFill>
              </a:rPr>
              <a:t> Linkage </a:t>
            </a:r>
            <a:r>
              <a:rPr lang="en-GB" altLang="fr-FR" sz="2400" b="0" dirty="0">
                <a:solidFill>
                  <a:srgbClr val="0070C0"/>
                </a:solidFill>
              </a:rPr>
              <a:t>with </a:t>
            </a:r>
            <a:r>
              <a:rPr lang="en-GB" altLang="fr-FR" sz="2400" b="0" dirty="0" smtClean="0">
                <a:solidFill>
                  <a:srgbClr val="0070C0"/>
                </a:solidFill>
              </a:rPr>
              <a:t>directorates</a:t>
            </a: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400" b="0" dirty="0" smtClean="0">
                <a:solidFill>
                  <a:srgbClr val="0070C0"/>
                </a:solidFill>
              </a:rPr>
              <a:t> User </a:t>
            </a:r>
            <a:r>
              <a:rPr lang="en-GB" altLang="fr-FR" sz="2400" b="0" dirty="0">
                <a:solidFill>
                  <a:srgbClr val="0070C0"/>
                </a:solidFill>
              </a:rPr>
              <a:t>representatives</a:t>
            </a:r>
          </a:p>
          <a:p>
            <a:pPr marL="457200" indent="-457200">
              <a:buFont typeface="+mj-lt"/>
              <a:buAutoNum type="arabicPeriod"/>
            </a:pPr>
            <a:endParaRPr lang="en-GB" altLang="fr-FR" dirty="0" smtClean="0">
              <a:solidFill>
                <a:schemeClr val="accent2"/>
              </a:solidFill>
            </a:endParaRPr>
          </a:p>
        </p:txBody>
      </p:sp>
      <p:sp>
        <p:nvSpPr>
          <p:cNvPr id="4" name="Slide Number Placeholder 1"/>
          <p:cNvSpPr txBox="1">
            <a:spLocks/>
          </p:cNvSpPr>
          <p:nvPr/>
        </p:nvSpPr>
        <p:spPr bwMode="auto">
          <a:xfrm>
            <a:off x="4283968" y="6597352"/>
            <a:ext cx="437704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3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720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169168" y="0"/>
            <a:ext cx="8229600" cy="936625"/>
          </a:xfrm>
        </p:spPr>
        <p:txBody>
          <a:bodyPr/>
          <a:lstStyle/>
          <a:p>
            <a:r>
              <a:rPr lang="en-GB" altLang="fr-FR" dirty="0" smtClean="0">
                <a:solidFill>
                  <a:schemeClr val="bg1"/>
                </a:solidFill>
              </a:rPr>
              <a:t>PUC </a:t>
            </a:r>
          </a:p>
        </p:txBody>
      </p:sp>
      <p:sp>
        <p:nvSpPr>
          <p:cNvPr id="28675" name="Content Placeholder 1"/>
          <p:cNvSpPr>
            <a:spLocks noGrp="1"/>
          </p:cNvSpPr>
          <p:nvPr>
            <p:ph idx="1"/>
          </p:nvPr>
        </p:nvSpPr>
        <p:spPr>
          <a:xfrm>
            <a:off x="323528" y="1844824"/>
            <a:ext cx="8576468" cy="4536504"/>
          </a:xfrm>
        </p:spPr>
        <p:txBody>
          <a:bodyPr/>
          <a:lstStyle/>
          <a:p>
            <a:pPr marL="0" indent="0">
              <a:spcAft>
                <a:spcPts val="1200"/>
              </a:spcAft>
              <a:buNone/>
            </a:pPr>
            <a:r>
              <a:rPr lang="en-GB" altLang="fr-FR" sz="2800" b="1" i="0" dirty="0" smtClean="0">
                <a:solidFill>
                  <a:srgbClr val="0070C0"/>
                </a:solidFill>
              </a:rPr>
              <a:t>Your role as PUC member:</a:t>
            </a:r>
          </a:p>
          <a:p>
            <a:pPr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000" i="0" dirty="0" smtClean="0">
                <a:solidFill>
                  <a:srgbClr val="0070C0"/>
                </a:solidFill>
              </a:rPr>
              <a:t>Representation of </a:t>
            </a:r>
            <a:r>
              <a:rPr lang="en-GB" altLang="fr-FR" sz="2000" i="0" dirty="0">
                <a:solidFill>
                  <a:srgbClr val="0070C0"/>
                </a:solidFill>
              </a:rPr>
              <a:t>your directorate, operational </a:t>
            </a:r>
            <a:r>
              <a:rPr lang="en-GB" altLang="fr-FR" sz="2000" i="0" u="sng" dirty="0">
                <a:solidFill>
                  <a:srgbClr val="0070C0"/>
                </a:solidFill>
              </a:rPr>
              <a:t>and</a:t>
            </a:r>
            <a:r>
              <a:rPr lang="en-GB" altLang="fr-FR" sz="2000" i="0" dirty="0">
                <a:solidFill>
                  <a:srgbClr val="0070C0"/>
                </a:solidFill>
              </a:rPr>
              <a:t> financial </a:t>
            </a:r>
            <a:r>
              <a:rPr lang="en-GB" altLang="fr-FR" sz="2000" i="0" dirty="0" smtClean="0">
                <a:solidFill>
                  <a:srgbClr val="0070C0"/>
                </a:solidFill>
              </a:rPr>
              <a:t>business</a:t>
            </a:r>
          </a:p>
          <a:p>
            <a:pPr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000" i="0" dirty="0">
                <a:solidFill>
                  <a:srgbClr val="0070C0"/>
                </a:solidFill>
              </a:rPr>
              <a:t>Reporting to your senior </a:t>
            </a:r>
            <a:r>
              <a:rPr lang="en-GB" altLang="fr-FR" sz="2000" i="0" dirty="0" smtClean="0">
                <a:solidFill>
                  <a:srgbClr val="0070C0"/>
                </a:solidFill>
              </a:rPr>
              <a:t>manager and PSC representative</a:t>
            </a:r>
            <a:endParaRPr lang="en-GB" altLang="fr-FR" sz="2000" i="0" dirty="0">
              <a:solidFill>
                <a:srgbClr val="0070C0"/>
              </a:solidFill>
            </a:endParaRPr>
          </a:p>
          <a:p>
            <a:pPr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000" i="0" dirty="0" smtClean="0">
                <a:solidFill>
                  <a:srgbClr val="0070C0"/>
                </a:solidFill>
              </a:rPr>
              <a:t>As </a:t>
            </a:r>
            <a:r>
              <a:rPr lang="en-GB" altLang="fr-FR" sz="2000" i="0" dirty="0">
                <a:solidFill>
                  <a:srgbClr val="0070C0"/>
                </a:solidFill>
              </a:rPr>
              <a:t>user, your experience and expertise count: </a:t>
            </a:r>
            <a:r>
              <a:rPr lang="en-GB" altLang="fr-FR" sz="2000" i="0" dirty="0" smtClean="0">
                <a:solidFill>
                  <a:srgbClr val="0070C0"/>
                </a:solidFill>
              </a:rPr>
              <a:t>contribution </a:t>
            </a:r>
            <a:r>
              <a:rPr lang="en-GB" altLang="fr-FR" sz="2000" i="0" dirty="0">
                <a:solidFill>
                  <a:srgbClr val="0070C0"/>
                </a:solidFill>
              </a:rPr>
              <a:t>to business requirements definition, </a:t>
            </a:r>
            <a:r>
              <a:rPr lang="en-GB" altLang="fr-FR" sz="2000" i="0" dirty="0" smtClean="0">
                <a:solidFill>
                  <a:srgbClr val="0070C0"/>
                </a:solidFill>
              </a:rPr>
              <a:t>ensure coherence</a:t>
            </a:r>
            <a:r>
              <a:rPr lang="en-GB" altLang="fr-FR" sz="2000" i="0" dirty="0">
                <a:solidFill>
                  <a:srgbClr val="0070C0"/>
                </a:solidFill>
              </a:rPr>
              <a:t>, </a:t>
            </a:r>
            <a:r>
              <a:rPr lang="en-GB" altLang="fr-FR" sz="2000" i="0" dirty="0" smtClean="0">
                <a:solidFill>
                  <a:srgbClr val="0070C0"/>
                </a:solidFill>
              </a:rPr>
              <a:t>result driven whilst remaining pragmatic</a:t>
            </a:r>
            <a:endParaRPr lang="en-GB" altLang="fr-FR" sz="2000" i="0" dirty="0">
              <a:solidFill>
                <a:srgbClr val="0070C0"/>
              </a:solidFill>
            </a:endParaRPr>
          </a:p>
          <a:p>
            <a:pPr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000" i="0" dirty="0" smtClean="0">
                <a:solidFill>
                  <a:srgbClr val="0070C0"/>
                </a:solidFill>
              </a:rPr>
              <a:t>On </a:t>
            </a:r>
            <a:r>
              <a:rPr lang="en-GB" altLang="fr-FR" sz="2000" i="0" dirty="0">
                <a:solidFill>
                  <a:srgbClr val="0070C0"/>
                </a:solidFill>
              </a:rPr>
              <a:t>a voluntary basis: </a:t>
            </a:r>
            <a:r>
              <a:rPr lang="en-GB" altLang="fr-FR" sz="2000" i="0" dirty="0" smtClean="0">
                <a:solidFill>
                  <a:srgbClr val="0070C0"/>
                </a:solidFill>
              </a:rPr>
              <a:t>user acceptance testing</a:t>
            </a:r>
            <a:endParaRPr lang="en-GB" altLang="fr-FR" sz="2000" i="0" dirty="0">
              <a:solidFill>
                <a:srgbClr val="0070C0"/>
              </a:solidFill>
            </a:endParaRPr>
          </a:p>
          <a:p>
            <a:pPr>
              <a:buFont typeface="Wingdings" panose="05000000000000000000" pitchFamily="2" charset="2"/>
              <a:buChar char="ü"/>
            </a:pPr>
            <a:endParaRPr lang="en-GB" altLang="fr-FR" sz="2000" i="0" dirty="0" smtClean="0">
              <a:solidFill>
                <a:schemeClr val="accent2"/>
              </a:solidFill>
            </a:endParaRPr>
          </a:p>
        </p:txBody>
      </p:sp>
      <p:sp>
        <p:nvSpPr>
          <p:cNvPr id="4" name="Slide Number Placeholder 1"/>
          <p:cNvSpPr txBox="1">
            <a:spLocks/>
          </p:cNvSpPr>
          <p:nvPr/>
        </p:nvSpPr>
        <p:spPr bwMode="auto">
          <a:xfrm>
            <a:off x="4283968" y="6597352"/>
            <a:ext cx="437704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4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305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Content Placeholder 1"/>
          <p:cNvSpPr>
            <a:spLocks noGrp="1"/>
          </p:cNvSpPr>
          <p:nvPr>
            <p:ph idx="1"/>
          </p:nvPr>
        </p:nvSpPr>
        <p:spPr>
          <a:xfrm>
            <a:off x="232479" y="1484784"/>
            <a:ext cx="8540681" cy="4680520"/>
          </a:xfrm>
        </p:spPr>
        <p:txBody>
          <a:bodyPr/>
          <a:lstStyle/>
          <a:p>
            <a:pPr defTabSz="93345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altLang="fr-FR" b="1" i="0" dirty="0" smtClean="0">
                <a:solidFill>
                  <a:srgbClr val="0070C0"/>
                </a:solidFill>
              </a:rPr>
              <a:t>Composition</a:t>
            </a:r>
            <a:r>
              <a:rPr lang="en-GB" altLang="fr-FR" i="0" dirty="0">
                <a:solidFill>
                  <a:srgbClr val="0070C0"/>
                </a:solidFill>
              </a:rPr>
              <a:t>: </a:t>
            </a:r>
            <a:r>
              <a:rPr lang="en-GB" i="0" dirty="0" smtClean="0">
                <a:solidFill>
                  <a:srgbClr val="0070C0"/>
                </a:solidFill>
              </a:rPr>
              <a:t>experts and users on specific domains; focused </a:t>
            </a:r>
            <a:r>
              <a:rPr lang="en-GB" i="0" dirty="0">
                <a:solidFill>
                  <a:srgbClr val="0070C0"/>
                </a:solidFill>
              </a:rPr>
              <a:t>on one </a:t>
            </a:r>
            <a:r>
              <a:rPr lang="en-GB" i="0" dirty="0" err="1" smtClean="0">
                <a:solidFill>
                  <a:srgbClr val="0070C0"/>
                </a:solidFill>
              </a:rPr>
              <a:t>OpSys</a:t>
            </a:r>
            <a:r>
              <a:rPr lang="en-GB" i="0" dirty="0" smtClean="0">
                <a:solidFill>
                  <a:srgbClr val="0070C0"/>
                </a:solidFill>
              </a:rPr>
              <a:t> </a:t>
            </a:r>
            <a:r>
              <a:rPr lang="en-GB" i="0" dirty="0">
                <a:solidFill>
                  <a:srgbClr val="0070C0"/>
                </a:solidFill>
              </a:rPr>
              <a:t>project or topic</a:t>
            </a:r>
          </a:p>
          <a:p>
            <a:pPr defTabSz="93345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altLang="fr-FR" b="1" i="0" dirty="0" smtClean="0">
                <a:solidFill>
                  <a:srgbClr val="0070C0"/>
                </a:solidFill>
              </a:rPr>
              <a:t>Main responsibilities:</a:t>
            </a:r>
            <a:endParaRPr lang="en-GB" altLang="fr-FR" b="1" i="0" dirty="0">
              <a:solidFill>
                <a:srgbClr val="0070C0"/>
              </a:solidFill>
            </a:endParaRP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400" b="0" dirty="0" smtClean="0">
                <a:solidFill>
                  <a:srgbClr val="0070C0"/>
                </a:solidFill>
              </a:rPr>
              <a:t>Contribute to specific business requirements </a:t>
            </a: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400" b="0" dirty="0" smtClean="0">
                <a:solidFill>
                  <a:srgbClr val="0070C0"/>
                </a:solidFill>
              </a:rPr>
              <a:t>Explore harmonisation and simplification opportunities</a:t>
            </a:r>
            <a:endParaRPr lang="en-GB" altLang="fr-FR" sz="2400" b="0" dirty="0">
              <a:solidFill>
                <a:srgbClr val="0070C0"/>
              </a:solidFill>
            </a:endParaRP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400" b="0" dirty="0" smtClean="0">
                <a:solidFill>
                  <a:srgbClr val="0070C0"/>
                </a:solidFill>
              </a:rPr>
              <a:t>Participate to specific user acceptance testing</a:t>
            </a:r>
            <a:endParaRPr lang="en-GB" altLang="fr-FR" sz="2400" b="0" dirty="0">
              <a:solidFill>
                <a:srgbClr val="0070C0"/>
              </a:solidFill>
            </a:endParaRP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400" b="0" dirty="0" smtClean="0">
                <a:solidFill>
                  <a:srgbClr val="0070C0"/>
                </a:solidFill>
              </a:rPr>
              <a:t>Report to PUC: joint discussion for final business requirements</a:t>
            </a: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2400" b="0" dirty="0" err="1" smtClean="0">
                <a:solidFill>
                  <a:srgbClr val="0070C0"/>
                </a:solidFill>
              </a:rPr>
              <a:t>Involved</a:t>
            </a:r>
            <a:r>
              <a:rPr lang="fr-BE" altLang="fr-FR" sz="2400" b="0" dirty="0" smtClean="0">
                <a:solidFill>
                  <a:srgbClr val="0070C0"/>
                </a:solidFill>
              </a:rPr>
              <a:t> in agile teams</a:t>
            </a:r>
            <a:endParaRPr lang="en-GB" altLang="fr-FR" dirty="0">
              <a:solidFill>
                <a:schemeClr val="accent2"/>
              </a:solidFill>
            </a:endParaRPr>
          </a:p>
          <a:p>
            <a:endParaRPr lang="en-US" altLang="en-US" dirty="0" smtClean="0"/>
          </a:p>
        </p:txBody>
      </p:sp>
      <p:sp>
        <p:nvSpPr>
          <p:cNvPr id="4" name="Slide Number Placeholder 1"/>
          <p:cNvSpPr txBox="1">
            <a:spLocks/>
          </p:cNvSpPr>
          <p:nvPr/>
        </p:nvSpPr>
        <p:spPr bwMode="auto">
          <a:xfrm>
            <a:off x="4283968" y="6597352"/>
            <a:ext cx="437704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5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69168" y="0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en-GB" altLang="en-US" kern="0" dirty="0" smtClean="0">
                <a:solidFill>
                  <a:schemeClr val="bg1"/>
                </a:solidFill>
              </a:rPr>
              <a:t>Domain user</a:t>
            </a:r>
          </a:p>
          <a:p>
            <a:pPr>
              <a:spcAft>
                <a:spcPts val="300"/>
              </a:spcAft>
            </a:pPr>
            <a:r>
              <a:rPr lang="en-GB" altLang="en-US" kern="0" dirty="0" smtClean="0">
                <a:solidFill>
                  <a:schemeClr val="bg1"/>
                </a:solidFill>
              </a:rPr>
              <a:t>groups</a:t>
            </a:r>
          </a:p>
        </p:txBody>
      </p:sp>
    </p:spTree>
    <p:extLst>
      <p:ext uri="{BB962C8B-B14F-4D97-AF65-F5344CB8AC3E}">
        <p14:creationId xmlns:p14="http://schemas.microsoft.com/office/powerpoint/2010/main" val="4072450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169168" y="116632"/>
            <a:ext cx="8229600" cy="936625"/>
          </a:xfrm>
        </p:spPr>
        <p:txBody>
          <a:bodyPr/>
          <a:lstStyle/>
          <a:p>
            <a:r>
              <a:rPr lang="en-GB" altLang="fr-FR" dirty="0" smtClean="0">
                <a:solidFill>
                  <a:schemeClr val="bg1"/>
                </a:solidFill>
              </a:rPr>
              <a:t>EU Delegations</a:t>
            </a:r>
          </a:p>
        </p:txBody>
      </p:sp>
      <p:sp>
        <p:nvSpPr>
          <p:cNvPr id="28675" name="Content Placeholder 1"/>
          <p:cNvSpPr>
            <a:spLocks noGrp="1"/>
          </p:cNvSpPr>
          <p:nvPr>
            <p:ph idx="1"/>
          </p:nvPr>
        </p:nvSpPr>
        <p:spPr>
          <a:xfrm>
            <a:off x="-159698" y="1286689"/>
            <a:ext cx="9124186" cy="5328592"/>
          </a:xfrm>
        </p:spPr>
        <p:txBody>
          <a:bodyPr/>
          <a:lstStyle/>
          <a:p>
            <a:pPr lvl="0"/>
            <a:r>
              <a:rPr lang="en-GB" b="1" dirty="0" smtClean="0">
                <a:solidFill>
                  <a:srgbClr val="0070C0"/>
                </a:solidFill>
              </a:rPr>
              <a:t>Working with EU delegations in </a:t>
            </a:r>
            <a:r>
              <a:rPr lang="en-GB" b="1" dirty="0" err="1" smtClean="0">
                <a:solidFill>
                  <a:srgbClr val="0070C0"/>
                </a:solidFill>
              </a:rPr>
              <a:t>OpSys</a:t>
            </a:r>
            <a:r>
              <a:rPr lang="en-GB" b="1" dirty="0" smtClean="0">
                <a:solidFill>
                  <a:srgbClr val="0070C0"/>
                </a:solidFill>
              </a:rPr>
              <a:t> programme :</a:t>
            </a:r>
          </a:p>
          <a:p>
            <a:pPr lvl="0"/>
            <a:endParaRPr lang="en-GB" dirty="0"/>
          </a:p>
          <a:p>
            <a:pPr lvl="1"/>
            <a:r>
              <a:rPr lang="en-GB" b="1" i="0" dirty="0" smtClean="0">
                <a:solidFill>
                  <a:srgbClr val="0070C0"/>
                </a:solidFill>
              </a:rPr>
              <a:t>Why?: </a:t>
            </a:r>
            <a:r>
              <a:rPr lang="en-GB" b="0" i="0" dirty="0">
                <a:solidFill>
                  <a:srgbClr val="0070C0"/>
                </a:solidFill>
              </a:rPr>
              <a:t>most of users, </a:t>
            </a:r>
            <a:r>
              <a:rPr lang="en-GB" b="0" i="0" dirty="0" smtClean="0">
                <a:solidFill>
                  <a:srgbClr val="0070C0"/>
                </a:solidFill>
              </a:rPr>
              <a:t>specific </a:t>
            </a:r>
            <a:r>
              <a:rPr lang="en-GB" b="0" i="0" dirty="0">
                <a:solidFill>
                  <a:srgbClr val="0070C0"/>
                </a:solidFill>
              </a:rPr>
              <a:t>needs</a:t>
            </a:r>
          </a:p>
          <a:p>
            <a:pPr lvl="1"/>
            <a:endParaRPr lang="en-GB" b="1" i="0" dirty="0">
              <a:solidFill>
                <a:srgbClr val="0070C0"/>
              </a:solidFill>
            </a:endParaRPr>
          </a:p>
          <a:p>
            <a:pPr lvl="1"/>
            <a:r>
              <a:rPr lang="en-GB" b="1" i="0" dirty="0">
                <a:solidFill>
                  <a:srgbClr val="0070C0"/>
                </a:solidFill>
              </a:rPr>
              <a:t>Who? </a:t>
            </a:r>
            <a:r>
              <a:rPr lang="en-GB" b="0" i="0" dirty="0" smtClean="0">
                <a:solidFill>
                  <a:srgbClr val="0070C0"/>
                </a:solidFill>
              </a:rPr>
              <a:t>Diversified profiles; </a:t>
            </a:r>
            <a:endParaRPr lang="en-GB" i="0" dirty="0">
              <a:solidFill>
                <a:srgbClr val="0070C0"/>
              </a:solidFill>
            </a:endParaRPr>
          </a:p>
          <a:p>
            <a:pPr lvl="2">
              <a:buClr>
                <a:schemeClr val="accent2"/>
              </a:buClr>
            </a:pPr>
            <a:r>
              <a:rPr lang="en-GB" sz="1800" b="0" dirty="0">
                <a:solidFill>
                  <a:srgbClr val="0070C0"/>
                </a:solidFill>
                <a:ea typeface="+mn-ea"/>
                <a:cs typeface="+mn-cs"/>
              </a:rPr>
              <a:t>Confirmed: Ethiopia, Malawi, Peru, Pakistan</a:t>
            </a:r>
          </a:p>
          <a:p>
            <a:pPr lvl="2">
              <a:buClr>
                <a:schemeClr val="accent2"/>
              </a:buClr>
            </a:pPr>
            <a:r>
              <a:rPr lang="it-IT" sz="1800" b="0" dirty="0">
                <a:solidFill>
                  <a:srgbClr val="0070C0"/>
                </a:solidFill>
                <a:ea typeface="+mn-ea"/>
                <a:cs typeface="+mn-cs"/>
              </a:rPr>
              <a:t>Pending: Tanzania, Mali, Morocco, Georgia, </a:t>
            </a:r>
            <a:r>
              <a:rPr lang="it-IT" sz="1800" b="0" dirty="0" smtClean="0">
                <a:solidFill>
                  <a:srgbClr val="0070C0"/>
                </a:solidFill>
                <a:ea typeface="+mn-ea"/>
                <a:cs typeface="+mn-cs"/>
              </a:rPr>
              <a:t>Afghanistan, Brazil</a:t>
            </a:r>
          </a:p>
          <a:p>
            <a:pPr lvl="2">
              <a:buClr>
                <a:schemeClr val="accent2"/>
              </a:buClr>
            </a:pPr>
            <a:endParaRPr lang="en-GB" sz="1800" b="0" dirty="0">
              <a:solidFill>
                <a:srgbClr val="0070C0"/>
              </a:solidFill>
              <a:ea typeface="+mn-ea"/>
              <a:cs typeface="+mn-cs"/>
            </a:endParaRPr>
          </a:p>
          <a:p>
            <a:pPr lvl="1"/>
            <a:r>
              <a:rPr lang="en-GB" b="1" i="0" dirty="0">
                <a:solidFill>
                  <a:srgbClr val="0070C0"/>
                </a:solidFill>
              </a:rPr>
              <a:t>How? </a:t>
            </a:r>
            <a:r>
              <a:rPr lang="en-GB" b="0" i="0" dirty="0" smtClean="0">
                <a:solidFill>
                  <a:srgbClr val="0070C0"/>
                </a:solidFill>
              </a:rPr>
              <a:t>Kept informed, Video conference, </a:t>
            </a:r>
            <a:r>
              <a:rPr lang="en-GB" b="0" i="0" u="sng" dirty="0" smtClean="0">
                <a:solidFill>
                  <a:srgbClr val="0070C0"/>
                </a:solidFill>
              </a:rPr>
              <a:t>annual workshop</a:t>
            </a:r>
            <a:endParaRPr lang="en-GB" b="0" i="0" u="sng" dirty="0">
              <a:solidFill>
                <a:srgbClr val="0070C0"/>
              </a:solidFill>
            </a:endParaRPr>
          </a:p>
          <a:p>
            <a:pPr lvl="1"/>
            <a:endParaRPr lang="en-GB" b="1" i="0" dirty="0">
              <a:solidFill>
                <a:srgbClr val="0070C0"/>
              </a:solidFill>
            </a:endParaRPr>
          </a:p>
          <a:p>
            <a:pPr lvl="1"/>
            <a:r>
              <a:rPr lang="en-GB" b="1" i="0" dirty="0">
                <a:solidFill>
                  <a:srgbClr val="0070C0"/>
                </a:solidFill>
              </a:rPr>
              <a:t>Where? </a:t>
            </a:r>
            <a:r>
              <a:rPr lang="en-GB" b="0" i="0" dirty="0">
                <a:solidFill>
                  <a:srgbClr val="0070C0"/>
                </a:solidFill>
              </a:rPr>
              <a:t>PUC </a:t>
            </a:r>
            <a:r>
              <a:rPr lang="en-GB" b="0" i="0" dirty="0" smtClean="0">
                <a:solidFill>
                  <a:srgbClr val="0070C0"/>
                </a:solidFill>
              </a:rPr>
              <a:t>(12 EU Del) and </a:t>
            </a:r>
            <a:r>
              <a:rPr lang="en-GB" b="0" i="0" dirty="0">
                <a:solidFill>
                  <a:srgbClr val="0070C0"/>
                </a:solidFill>
              </a:rPr>
              <a:t>PSC </a:t>
            </a:r>
            <a:r>
              <a:rPr lang="en-GB" b="0" i="0" dirty="0" smtClean="0">
                <a:solidFill>
                  <a:srgbClr val="0070C0"/>
                </a:solidFill>
              </a:rPr>
              <a:t>(3 </a:t>
            </a:r>
            <a:r>
              <a:rPr lang="en-GB" b="0" i="0" dirty="0" err="1" smtClean="0">
                <a:solidFill>
                  <a:srgbClr val="0070C0"/>
                </a:solidFill>
              </a:rPr>
              <a:t>HoCs</a:t>
            </a:r>
            <a:r>
              <a:rPr lang="en-GB" b="0" i="0" dirty="0">
                <a:solidFill>
                  <a:srgbClr val="0070C0"/>
                </a:solidFill>
              </a:rPr>
              <a:t>)</a:t>
            </a:r>
          </a:p>
        </p:txBody>
      </p:sp>
      <p:sp>
        <p:nvSpPr>
          <p:cNvPr id="4" name="Slide Number Placeholder 1"/>
          <p:cNvSpPr txBox="1">
            <a:spLocks/>
          </p:cNvSpPr>
          <p:nvPr/>
        </p:nvSpPr>
        <p:spPr bwMode="auto">
          <a:xfrm>
            <a:off x="4283968" y="6597352"/>
            <a:ext cx="437704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6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7321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spcAft>
                <a:spcPts val="1200"/>
              </a:spcAft>
              <a:buClrTx/>
            </a:pPr>
            <a:r>
              <a:rPr lang="fr-BE" sz="2800" dirty="0"/>
              <a:t>4</a:t>
            </a:r>
            <a:r>
              <a:rPr lang="fr-BE" sz="2800" dirty="0" smtClean="0"/>
              <a:t>. </a:t>
            </a:r>
            <a:r>
              <a:rPr lang="fr-BE" altLang="fr-FR" sz="2800" dirty="0" err="1" smtClean="0">
                <a:latin typeface="Georgia" panose="02040502050405020303" pitchFamily="18" charset="0"/>
              </a:rPr>
              <a:t>What</a:t>
            </a:r>
            <a:r>
              <a:rPr lang="fr-BE" altLang="fr-FR" sz="2800" dirty="0" smtClean="0">
                <a:latin typeface="Georgia" panose="02040502050405020303" pitchFamily="18" charset="0"/>
              </a:rPr>
              <a:t> </a:t>
            </a:r>
            <a:r>
              <a:rPr lang="fr-BE" altLang="fr-FR" sz="2800" dirty="0">
                <a:latin typeface="Georgia" panose="02040502050405020303" pitchFamily="18" charset="0"/>
              </a:rPr>
              <a:t>to </a:t>
            </a:r>
            <a:r>
              <a:rPr lang="fr-BE" altLang="fr-FR" sz="2800" dirty="0" err="1">
                <a:latin typeface="Georgia" panose="02040502050405020303" pitchFamily="18" charset="0"/>
              </a:rPr>
              <a:t>expect</a:t>
            </a:r>
            <a:r>
              <a:rPr lang="fr-BE" altLang="fr-FR" sz="2800" dirty="0">
                <a:latin typeface="Georgia" panose="02040502050405020303" pitchFamily="18" charset="0"/>
              </a:rPr>
              <a:t> in 2016 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en-US" sz="2400" dirty="0">
                <a:latin typeface="Georgia" panose="02040502050405020303" pitchFamily="18" charset="0"/>
                <a:ea typeface="+mn-ea"/>
                <a:cs typeface="+mn-cs"/>
              </a:rPr>
              <a:t>Main activities and key </a:t>
            </a:r>
            <a:r>
              <a:rPr lang="en-GB" altLang="en-US" sz="2400" dirty="0" smtClean="0">
                <a:latin typeface="Georgia" panose="02040502050405020303" pitchFamily="18" charset="0"/>
                <a:ea typeface="+mn-ea"/>
                <a:cs typeface="+mn-cs"/>
              </a:rPr>
              <a:t>milestones</a:t>
            </a:r>
          </a:p>
          <a:p>
            <a:pPr marL="400050" lvl="2" indent="0">
              <a:buClr>
                <a:schemeClr val="accent2"/>
              </a:buClr>
            </a:pPr>
            <a:endParaRPr lang="en-GB" altLang="en-US" sz="2400" dirty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2400" dirty="0" err="1">
                <a:latin typeface="Georgia" panose="02040502050405020303" pitchFamily="18" charset="0"/>
                <a:ea typeface="+mn-ea"/>
                <a:cs typeface="+mn-cs"/>
              </a:rPr>
              <a:t>Next</a:t>
            </a:r>
            <a:r>
              <a:rPr lang="fr-BE" altLang="fr-FR" sz="2400" dirty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altLang="fr-FR" sz="2400" dirty="0" err="1">
                <a:latin typeface="Georgia" panose="02040502050405020303" pitchFamily="18" charset="0"/>
                <a:ea typeface="+mn-ea"/>
                <a:cs typeface="+mn-cs"/>
              </a:rPr>
              <a:t>steps</a:t>
            </a:r>
            <a:r>
              <a:rPr lang="fr-BE" altLang="fr-FR" sz="2400" dirty="0">
                <a:latin typeface="Georgia" panose="02040502050405020303" pitchFamily="18" charset="0"/>
                <a:ea typeface="+mn-ea"/>
                <a:cs typeface="+mn-cs"/>
              </a:rPr>
              <a:t> and </a:t>
            </a:r>
            <a:r>
              <a:rPr lang="fr-BE" altLang="fr-FR" sz="2400" dirty="0" err="1">
                <a:latin typeface="Georgia" panose="02040502050405020303" pitchFamily="18" charset="0"/>
                <a:ea typeface="+mn-ea"/>
                <a:cs typeface="+mn-cs"/>
              </a:rPr>
              <a:t>your</a:t>
            </a:r>
            <a:r>
              <a:rPr lang="fr-BE" altLang="fr-FR" sz="2400" dirty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altLang="fr-FR" sz="2400" dirty="0" smtClean="0">
                <a:latin typeface="Georgia" panose="02040502050405020303" pitchFamily="18" charset="0"/>
                <a:ea typeface="+mn-ea"/>
                <a:cs typeface="+mn-cs"/>
              </a:rPr>
              <a:t>contribution</a:t>
            </a: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endParaRPr lang="fr-BE" altLang="fr-FR" sz="2400" dirty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2400" dirty="0">
                <a:latin typeface="Georgia" panose="02040502050405020303" pitchFamily="18" charset="0"/>
                <a:ea typeface="+mn-ea"/>
                <a:cs typeface="+mn-cs"/>
              </a:rPr>
              <a:t>Possible agenda points for next PUCs</a:t>
            </a:r>
            <a:endParaRPr lang="fr-BE" altLang="fr-FR" sz="2400" dirty="0">
              <a:latin typeface="Georgia" panose="02040502050405020303" pitchFamily="18" charset="0"/>
              <a:ea typeface="+mn-ea"/>
              <a:cs typeface="+mn-cs"/>
            </a:endParaRPr>
          </a:p>
          <a:p>
            <a:endParaRPr lang="fr-BE" i="0" dirty="0" smtClean="0">
              <a:latin typeface="Georgia" panose="02040502050405020303" pitchFamily="18" charset="0"/>
            </a:endParaRPr>
          </a:p>
          <a:p>
            <a:endParaRPr lang="en-GB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AB10BA-40BC-49D9-8313-BE9ACC7EDE04}" type="slidenum">
              <a:rPr lang="en-GB" altLang="fr-FR" smtClean="0">
                <a:solidFill>
                  <a:srgbClr val="000000"/>
                </a:solidFill>
              </a:rPr>
              <a:pPr/>
              <a:t>17</a:t>
            </a:fld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6" name="Slide Number Placeholder 1"/>
          <p:cNvSpPr txBox="1">
            <a:spLocks/>
          </p:cNvSpPr>
          <p:nvPr/>
        </p:nvSpPr>
        <p:spPr bwMode="auto">
          <a:xfrm>
            <a:off x="4211960" y="6597352"/>
            <a:ext cx="504056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7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3080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>
          <a:xfrm>
            <a:off x="169168" y="910495"/>
            <a:ext cx="8507288" cy="936625"/>
          </a:xfrm>
        </p:spPr>
        <p:txBody>
          <a:bodyPr/>
          <a:lstStyle/>
          <a:p>
            <a:pPr lvl="2">
              <a:spcAft>
                <a:spcPts val="300"/>
              </a:spcAft>
            </a:pPr>
            <a:r>
              <a:rPr lang="en-GB" altLang="en-US" sz="2800" dirty="0" smtClean="0">
                <a:latin typeface="+mj-lt"/>
                <a:ea typeface="+mj-ea"/>
                <a:cs typeface="+mj-cs"/>
              </a:rPr>
              <a:t>2016: Main </a:t>
            </a:r>
            <a:r>
              <a:rPr lang="en-GB" altLang="en-US" sz="2800" dirty="0">
                <a:latin typeface="+mj-lt"/>
                <a:ea typeface="+mj-ea"/>
                <a:cs typeface="+mj-cs"/>
              </a:rPr>
              <a:t>activities and </a:t>
            </a:r>
            <a:r>
              <a:rPr lang="en-GB" altLang="en-US" sz="2800" dirty="0" smtClean="0">
                <a:latin typeface="+mj-lt"/>
                <a:ea typeface="+mj-ea"/>
                <a:cs typeface="+mj-cs"/>
              </a:rPr>
              <a:t>milestones (1)</a:t>
            </a:r>
            <a:endParaRPr lang="en-GB" altLang="en-US" sz="2800" dirty="0">
              <a:latin typeface="+mj-lt"/>
              <a:ea typeface="+mj-ea"/>
              <a:cs typeface="+mj-cs"/>
            </a:endParaRPr>
          </a:p>
        </p:txBody>
      </p:sp>
      <p:sp>
        <p:nvSpPr>
          <p:cNvPr id="30723" name="Content Placeholder 1"/>
          <p:cNvSpPr>
            <a:spLocks noGrp="1"/>
          </p:cNvSpPr>
          <p:nvPr>
            <p:ph idx="1"/>
          </p:nvPr>
        </p:nvSpPr>
        <p:spPr>
          <a:xfrm>
            <a:off x="-193104" y="1802496"/>
            <a:ext cx="8954144" cy="5010880"/>
          </a:xfrm>
        </p:spPr>
        <p:txBody>
          <a:bodyPr/>
          <a:lstStyle/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1800" b="0" dirty="0" smtClean="0">
                <a:solidFill>
                  <a:srgbClr val="0070C0"/>
                </a:solidFill>
              </a:rPr>
              <a:t>Reuse studies in view of June IT board</a:t>
            </a:r>
          </a:p>
          <a:p>
            <a:pPr lvl="2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1800" b="1" dirty="0" smtClean="0">
                <a:solidFill>
                  <a:srgbClr val="0070C0"/>
                </a:solidFill>
              </a:rPr>
              <a:t>Grant Management Suite, e-Procurement </a:t>
            </a:r>
            <a:r>
              <a:rPr lang="en-GB" altLang="fr-FR" sz="1800" b="0" dirty="0" smtClean="0">
                <a:solidFill>
                  <a:srgbClr val="0070C0"/>
                </a:solidFill>
              </a:rPr>
              <a:t>(</a:t>
            </a:r>
            <a:r>
              <a:rPr lang="en-GB" altLang="fr-FR" sz="1800" b="0" i="1" dirty="0" smtClean="0">
                <a:solidFill>
                  <a:srgbClr val="0070C0"/>
                </a:solidFill>
              </a:rPr>
              <a:t>CBA study</a:t>
            </a:r>
            <a:r>
              <a:rPr lang="en-GB" altLang="fr-FR" sz="1800" b="0" dirty="0" smtClean="0">
                <a:solidFill>
                  <a:srgbClr val="0070C0"/>
                </a:solidFill>
              </a:rPr>
              <a:t>)</a:t>
            </a:r>
            <a:r>
              <a:rPr lang="en-GB" altLang="fr-FR" sz="1800" dirty="0" smtClean="0">
                <a:solidFill>
                  <a:srgbClr val="0070C0"/>
                </a:solidFill>
              </a:rPr>
              <a:t>: </a:t>
            </a:r>
            <a:r>
              <a:rPr lang="en-GB" altLang="fr-FR" sz="1800" b="0" dirty="0" smtClean="0">
                <a:solidFill>
                  <a:srgbClr val="00B050"/>
                </a:solidFill>
              </a:rPr>
              <a:t>Business Manager: </a:t>
            </a:r>
            <a:r>
              <a:rPr lang="en-GB" altLang="fr-FR" sz="1800" dirty="0">
                <a:solidFill>
                  <a:srgbClr val="00B050"/>
                </a:solidFill>
              </a:rPr>
              <a:t>PONCELET </a:t>
            </a:r>
            <a:r>
              <a:rPr lang="en-GB" altLang="fr-FR" sz="1800" b="0" dirty="0" smtClean="0">
                <a:solidFill>
                  <a:srgbClr val="00B050"/>
                </a:solidFill>
              </a:rPr>
              <a:t>Jean-Yves</a:t>
            </a:r>
          </a:p>
          <a:p>
            <a:pPr lvl="2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b="1" dirty="0" smtClean="0">
                <a:solidFill>
                  <a:srgbClr val="0070C0"/>
                </a:solidFill>
              </a:rPr>
              <a:t>MIS</a:t>
            </a:r>
            <a:r>
              <a:rPr lang="fr-BE" altLang="fr-FR" sz="1800" dirty="0" smtClean="0">
                <a:solidFill>
                  <a:srgbClr val="0070C0"/>
                </a:solidFill>
              </a:rPr>
              <a:t>: </a:t>
            </a:r>
            <a:r>
              <a:rPr lang="fr-BE" altLang="fr-FR" sz="1800" dirty="0" smtClean="0">
                <a:solidFill>
                  <a:srgbClr val="00B050"/>
                </a:solidFill>
              </a:rPr>
              <a:t>Business Manager: Fabian VERHOEVEN</a:t>
            </a:r>
            <a:endParaRPr lang="en-GB" altLang="fr-FR" sz="1800" b="0" dirty="0" smtClean="0">
              <a:solidFill>
                <a:srgbClr val="00B050"/>
              </a:solidFill>
            </a:endParaRP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1800" b="0" dirty="0" smtClean="0">
                <a:solidFill>
                  <a:srgbClr val="0070C0"/>
                </a:solidFill>
              </a:rPr>
              <a:t>Project 1: Operational entities &amp; result management</a:t>
            </a:r>
          </a:p>
          <a:p>
            <a:pPr lvl="2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b="1" dirty="0">
                <a:solidFill>
                  <a:srgbClr val="0070C0"/>
                </a:solidFill>
              </a:rPr>
              <a:t>Business Case </a:t>
            </a:r>
            <a:r>
              <a:rPr lang="fr-BE" altLang="fr-FR" sz="1800" dirty="0" smtClean="0">
                <a:solidFill>
                  <a:srgbClr val="0070C0"/>
                </a:solidFill>
              </a:rPr>
              <a:t>(</a:t>
            </a:r>
            <a:r>
              <a:rPr lang="fr-BE" altLang="fr-FR" sz="1800" dirty="0" err="1" smtClean="0">
                <a:solidFill>
                  <a:srgbClr val="0070C0"/>
                </a:solidFill>
              </a:rPr>
              <a:t>February</a:t>
            </a:r>
            <a:r>
              <a:rPr lang="fr-BE" altLang="fr-FR" sz="1800" dirty="0" smtClean="0">
                <a:solidFill>
                  <a:srgbClr val="0070C0"/>
                </a:solidFill>
              </a:rPr>
              <a:t>) </a:t>
            </a:r>
            <a:r>
              <a:rPr lang="fr-BE" altLang="fr-FR" sz="1800" dirty="0">
                <a:solidFill>
                  <a:srgbClr val="0070C0"/>
                </a:solidFill>
              </a:rPr>
              <a:t>and </a:t>
            </a:r>
            <a:r>
              <a:rPr lang="fr-BE" altLang="fr-FR" sz="1800" b="1" dirty="0">
                <a:solidFill>
                  <a:srgbClr val="0070C0"/>
                </a:solidFill>
              </a:rPr>
              <a:t>Project Charter </a:t>
            </a:r>
            <a:r>
              <a:rPr lang="fr-BE" altLang="fr-FR" sz="1800" dirty="0">
                <a:solidFill>
                  <a:srgbClr val="0070C0"/>
                </a:solidFill>
              </a:rPr>
              <a:t>(April </a:t>
            </a:r>
            <a:r>
              <a:rPr lang="fr-BE" altLang="fr-FR" sz="1800" dirty="0" err="1">
                <a:solidFill>
                  <a:srgbClr val="0070C0"/>
                </a:solidFill>
              </a:rPr>
              <a:t>tbc</a:t>
            </a:r>
            <a:r>
              <a:rPr lang="fr-BE" altLang="fr-FR" sz="1800" dirty="0">
                <a:solidFill>
                  <a:srgbClr val="0070C0"/>
                </a:solidFill>
              </a:rPr>
              <a:t>)</a:t>
            </a:r>
            <a:endParaRPr lang="en-GB" altLang="fr-FR" sz="1800" dirty="0">
              <a:solidFill>
                <a:srgbClr val="00B050"/>
              </a:solidFill>
            </a:endParaRPr>
          </a:p>
          <a:p>
            <a:pPr lvl="2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b="1" dirty="0" smtClean="0">
                <a:solidFill>
                  <a:srgbClr val="0070C0"/>
                </a:solidFill>
              </a:rPr>
              <a:t>Harmonisation on </a:t>
            </a:r>
            <a:r>
              <a:rPr lang="fr-BE" altLang="fr-FR" sz="1800" b="1" dirty="0" err="1" smtClean="0">
                <a:solidFill>
                  <a:srgbClr val="0070C0"/>
                </a:solidFill>
              </a:rPr>
              <a:t>taxonomy</a:t>
            </a:r>
            <a:r>
              <a:rPr lang="fr-BE" altLang="fr-FR" sz="1800" b="1" dirty="0" smtClean="0">
                <a:solidFill>
                  <a:srgbClr val="0070C0"/>
                </a:solidFill>
              </a:rPr>
              <a:t>/</a:t>
            </a:r>
            <a:r>
              <a:rPr lang="fr-BE" altLang="fr-FR" sz="1800" b="1" dirty="0" err="1" smtClean="0">
                <a:solidFill>
                  <a:srgbClr val="0070C0"/>
                </a:solidFill>
              </a:rPr>
              <a:t>terminology</a:t>
            </a:r>
            <a:r>
              <a:rPr lang="fr-BE" altLang="fr-FR" sz="1800" b="1" dirty="0" smtClean="0">
                <a:solidFill>
                  <a:srgbClr val="0070C0"/>
                </a:solidFill>
              </a:rPr>
              <a:t> </a:t>
            </a:r>
            <a:r>
              <a:rPr lang="fr-BE" altLang="fr-FR" sz="1800" dirty="0" smtClean="0">
                <a:solidFill>
                  <a:srgbClr val="0070C0"/>
                </a:solidFill>
              </a:rPr>
              <a:t>(</a:t>
            </a:r>
            <a:r>
              <a:rPr lang="fr-BE" altLang="fr-FR" sz="1800" dirty="0" err="1">
                <a:solidFill>
                  <a:srgbClr val="0070C0"/>
                </a:solidFill>
              </a:rPr>
              <a:t>J</a:t>
            </a:r>
            <a:r>
              <a:rPr lang="fr-BE" altLang="fr-FR" sz="1800" dirty="0" err="1" smtClean="0">
                <a:solidFill>
                  <a:srgbClr val="0070C0"/>
                </a:solidFill>
              </a:rPr>
              <a:t>une</a:t>
            </a:r>
            <a:r>
              <a:rPr lang="fr-BE" altLang="fr-FR" sz="1800" dirty="0" smtClean="0">
                <a:solidFill>
                  <a:srgbClr val="0070C0"/>
                </a:solidFill>
              </a:rPr>
              <a:t>)</a:t>
            </a:r>
            <a:endParaRPr lang="en-GB" altLang="fr-FR" sz="1800" dirty="0" smtClean="0">
              <a:solidFill>
                <a:srgbClr val="0070C0"/>
              </a:solidFill>
            </a:endParaRPr>
          </a:p>
          <a:p>
            <a:pPr lvl="2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dirty="0" smtClean="0">
                <a:solidFill>
                  <a:srgbClr val="0070C0"/>
                </a:solidFill>
              </a:rPr>
              <a:t>Business </a:t>
            </a:r>
            <a:r>
              <a:rPr lang="fr-BE" altLang="fr-FR" sz="1800" dirty="0" err="1" smtClean="0">
                <a:solidFill>
                  <a:srgbClr val="0070C0"/>
                </a:solidFill>
              </a:rPr>
              <a:t>requirements</a:t>
            </a:r>
            <a:endParaRPr lang="en-GB" altLang="fr-FR" sz="1800" dirty="0" smtClean="0">
              <a:solidFill>
                <a:srgbClr val="0070C0"/>
              </a:solidFill>
            </a:endParaRPr>
          </a:p>
          <a:p>
            <a:pPr lvl="2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1800" dirty="0" smtClean="0">
                <a:solidFill>
                  <a:srgbClr val="0070C0"/>
                </a:solidFill>
              </a:rPr>
              <a:t>Go-live </a:t>
            </a:r>
            <a:r>
              <a:rPr lang="en-GB" altLang="fr-FR" sz="1800" dirty="0">
                <a:solidFill>
                  <a:srgbClr val="0070C0"/>
                </a:solidFill>
              </a:rPr>
              <a:t>of the </a:t>
            </a:r>
            <a:r>
              <a:rPr lang="en-GB" altLang="fr-FR" sz="1800" b="1" dirty="0">
                <a:solidFill>
                  <a:srgbClr val="0070C0"/>
                </a:solidFill>
              </a:rPr>
              <a:t>Results management pilot</a:t>
            </a:r>
            <a:r>
              <a:rPr lang="en-GB" altLang="fr-FR" sz="1800" dirty="0">
                <a:solidFill>
                  <a:srgbClr val="0070C0"/>
                </a:solidFill>
              </a:rPr>
              <a:t> in selected EUDs and </a:t>
            </a:r>
            <a:r>
              <a:rPr lang="en-GB" altLang="fr-FR" sz="1800" dirty="0" smtClean="0">
                <a:solidFill>
                  <a:srgbClr val="0070C0"/>
                </a:solidFill>
              </a:rPr>
              <a:t>units (</a:t>
            </a:r>
            <a:r>
              <a:rPr lang="en-GB" altLang="fr-FR" sz="1800" dirty="0" err="1" smtClean="0">
                <a:solidFill>
                  <a:srgbClr val="0070C0"/>
                </a:solidFill>
              </a:rPr>
              <a:t>year end</a:t>
            </a:r>
            <a:r>
              <a:rPr lang="en-GB" altLang="fr-FR" sz="1800" dirty="0" smtClean="0">
                <a:solidFill>
                  <a:srgbClr val="0070C0"/>
                </a:solidFill>
              </a:rPr>
              <a:t>)</a:t>
            </a:r>
          </a:p>
          <a:p>
            <a:pPr lvl="2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1800" dirty="0" smtClean="0">
                <a:solidFill>
                  <a:srgbClr val="00B050"/>
                </a:solidFill>
              </a:rPr>
              <a:t>Business Manager: PETITPIERRE Lucile</a:t>
            </a:r>
          </a:p>
          <a:p>
            <a:endParaRPr lang="en-US" altLang="en-US" sz="2000" dirty="0" smtClean="0"/>
          </a:p>
        </p:txBody>
      </p:sp>
      <p:sp>
        <p:nvSpPr>
          <p:cNvPr id="4" name="Slide Number Placeholder 1"/>
          <p:cNvSpPr txBox="1">
            <a:spLocks/>
          </p:cNvSpPr>
          <p:nvPr/>
        </p:nvSpPr>
        <p:spPr bwMode="auto">
          <a:xfrm>
            <a:off x="4283968" y="6597352"/>
            <a:ext cx="437704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8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69168" y="0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fr-BE" altLang="en-US" sz="3200" kern="0" dirty="0" err="1" smtClean="0">
                <a:solidFill>
                  <a:schemeClr val="bg1"/>
                </a:solidFill>
              </a:rPr>
              <a:t>What’s</a:t>
            </a:r>
            <a:r>
              <a:rPr lang="fr-BE" altLang="en-US" sz="3200" kern="0" dirty="0" smtClean="0">
                <a:solidFill>
                  <a:schemeClr val="bg1"/>
                </a:solidFill>
              </a:rPr>
              <a:t> </a:t>
            </a:r>
            <a:r>
              <a:rPr lang="fr-BE" altLang="en-US" sz="3200" kern="0" dirty="0" err="1" smtClean="0">
                <a:solidFill>
                  <a:schemeClr val="bg1"/>
                </a:solidFill>
              </a:rPr>
              <a:t>next</a:t>
            </a:r>
            <a:r>
              <a:rPr lang="fr-BE" altLang="en-US" sz="3200" kern="0" dirty="0" smtClean="0">
                <a:solidFill>
                  <a:schemeClr val="bg1"/>
                </a:solidFill>
              </a:rPr>
              <a:t> ?</a:t>
            </a:r>
            <a:endParaRPr lang="en-GB" altLang="en-US" kern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640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>
          <a:xfrm>
            <a:off x="169168" y="910495"/>
            <a:ext cx="8579296" cy="936625"/>
          </a:xfrm>
        </p:spPr>
        <p:txBody>
          <a:bodyPr/>
          <a:lstStyle/>
          <a:p>
            <a:pPr lvl="2">
              <a:spcAft>
                <a:spcPts val="300"/>
              </a:spcAft>
            </a:pPr>
            <a:r>
              <a:rPr lang="en-GB" altLang="en-US" sz="2800" dirty="0" smtClean="0">
                <a:latin typeface="+mj-lt"/>
                <a:ea typeface="+mj-ea"/>
                <a:cs typeface="+mj-cs"/>
              </a:rPr>
              <a:t>2016: Main </a:t>
            </a:r>
            <a:r>
              <a:rPr lang="en-GB" altLang="en-US" sz="2800" dirty="0">
                <a:latin typeface="+mj-lt"/>
                <a:ea typeface="+mj-ea"/>
                <a:cs typeface="+mj-cs"/>
              </a:rPr>
              <a:t>activities and </a:t>
            </a:r>
            <a:r>
              <a:rPr lang="en-GB" altLang="en-US" sz="2800" dirty="0" smtClean="0">
                <a:latin typeface="+mj-lt"/>
                <a:ea typeface="+mj-ea"/>
                <a:cs typeface="+mj-cs"/>
              </a:rPr>
              <a:t>milestones (2)</a:t>
            </a:r>
            <a:endParaRPr lang="en-GB" altLang="en-US" sz="2800" dirty="0">
              <a:latin typeface="+mj-lt"/>
              <a:ea typeface="+mj-ea"/>
              <a:cs typeface="+mj-cs"/>
            </a:endParaRPr>
          </a:p>
        </p:txBody>
      </p:sp>
      <p:sp>
        <p:nvSpPr>
          <p:cNvPr id="30723" name="Content Placeholder 1"/>
          <p:cNvSpPr>
            <a:spLocks noGrp="1"/>
          </p:cNvSpPr>
          <p:nvPr>
            <p:ph idx="1"/>
          </p:nvPr>
        </p:nvSpPr>
        <p:spPr>
          <a:xfrm>
            <a:off x="-193104" y="1802496"/>
            <a:ext cx="8954144" cy="5010880"/>
          </a:xfrm>
        </p:spPr>
        <p:txBody>
          <a:bodyPr/>
          <a:lstStyle/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1800" b="0" dirty="0" smtClean="0">
                <a:solidFill>
                  <a:srgbClr val="0070C0"/>
                </a:solidFill>
              </a:rPr>
              <a:t>Project </a:t>
            </a:r>
            <a:r>
              <a:rPr lang="en-GB" altLang="fr-FR" sz="1800" b="0" dirty="0">
                <a:solidFill>
                  <a:srgbClr val="0070C0"/>
                </a:solidFill>
              </a:rPr>
              <a:t>2a: Action management &amp; level 1 </a:t>
            </a:r>
            <a:r>
              <a:rPr lang="en-GB" altLang="fr-FR" sz="1800" b="0" dirty="0" smtClean="0">
                <a:solidFill>
                  <a:srgbClr val="0070C0"/>
                </a:solidFill>
              </a:rPr>
              <a:t>commitment</a:t>
            </a:r>
          </a:p>
          <a:p>
            <a:pPr lvl="2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b="1" dirty="0">
                <a:solidFill>
                  <a:srgbClr val="0070C0"/>
                </a:solidFill>
              </a:rPr>
              <a:t>Business Case </a:t>
            </a:r>
            <a:r>
              <a:rPr lang="fr-BE" altLang="fr-FR" sz="1800" dirty="0" smtClean="0">
                <a:solidFill>
                  <a:srgbClr val="0070C0"/>
                </a:solidFill>
              </a:rPr>
              <a:t>(April) </a:t>
            </a:r>
            <a:r>
              <a:rPr lang="fr-BE" altLang="fr-FR" sz="1800" dirty="0">
                <a:solidFill>
                  <a:srgbClr val="0070C0"/>
                </a:solidFill>
              </a:rPr>
              <a:t>and </a:t>
            </a:r>
            <a:r>
              <a:rPr lang="fr-BE" altLang="fr-FR" sz="1800" b="1" dirty="0" smtClean="0">
                <a:solidFill>
                  <a:srgbClr val="0070C0"/>
                </a:solidFill>
              </a:rPr>
              <a:t>Project </a:t>
            </a:r>
            <a:r>
              <a:rPr lang="fr-BE" altLang="fr-FR" sz="1800" b="1" dirty="0">
                <a:solidFill>
                  <a:srgbClr val="0070C0"/>
                </a:solidFill>
              </a:rPr>
              <a:t>Charter </a:t>
            </a:r>
            <a:r>
              <a:rPr lang="fr-BE" altLang="fr-FR" sz="1800" dirty="0" smtClean="0">
                <a:solidFill>
                  <a:srgbClr val="0070C0"/>
                </a:solidFill>
              </a:rPr>
              <a:t>(</a:t>
            </a:r>
            <a:r>
              <a:rPr lang="fr-BE" altLang="fr-FR" sz="1800" dirty="0" err="1">
                <a:solidFill>
                  <a:srgbClr val="0070C0"/>
                </a:solidFill>
              </a:rPr>
              <a:t>J</a:t>
            </a:r>
            <a:r>
              <a:rPr lang="fr-BE" altLang="fr-FR" sz="1800" dirty="0" err="1" smtClean="0">
                <a:solidFill>
                  <a:srgbClr val="0070C0"/>
                </a:solidFill>
              </a:rPr>
              <a:t>une</a:t>
            </a:r>
            <a:r>
              <a:rPr lang="fr-BE" altLang="fr-FR" sz="1800" dirty="0" smtClean="0">
                <a:solidFill>
                  <a:srgbClr val="0070C0"/>
                </a:solidFill>
              </a:rPr>
              <a:t> </a:t>
            </a:r>
            <a:r>
              <a:rPr lang="fr-BE" altLang="fr-FR" sz="1800" dirty="0" err="1">
                <a:solidFill>
                  <a:srgbClr val="0070C0"/>
                </a:solidFill>
              </a:rPr>
              <a:t>tbc</a:t>
            </a:r>
            <a:r>
              <a:rPr lang="fr-BE" altLang="fr-FR" sz="1800" dirty="0" smtClean="0">
                <a:solidFill>
                  <a:srgbClr val="0070C0"/>
                </a:solidFill>
              </a:rPr>
              <a:t>)</a:t>
            </a:r>
          </a:p>
          <a:p>
            <a:pPr lvl="2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b="0" dirty="0" smtClean="0">
                <a:solidFill>
                  <a:srgbClr val="0070C0"/>
                </a:solidFill>
              </a:rPr>
              <a:t>Business </a:t>
            </a:r>
            <a:r>
              <a:rPr lang="fr-BE" altLang="fr-FR" sz="1800" b="0" dirty="0" err="1" smtClean="0">
                <a:solidFill>
                  <a:srgbClr val="0070C0"/>
                </a:solidFill>
              </a:rPr>
              <a:t>requirements</a:t>
            </a:r>
            <a:endParaRPr lang="en-GB" altLang="fr-FR" sz="1800" b="0" dirty="0" smtClean="0">
              <a:solidFill>
                <a:srgbClr val="00B050"/>
              </a:solidFill>
            </a:endParaRPr>
          </a:p>
          <a:p>
            <a:pPr lvl="2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1800" b="0" dirty="0" smtClean="0">
                <a:solidFill>
                  <a:srgbClr val="00B050"/>
                </a:solidFill>
              </a:rPr>
              <a:t>Business Manager: VERHOEVEN Fabian</a:t>
            </a: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1800" b="0" dirty="0" smtClean="0">
                <a:solidFill>
                  <a:srgbClr val="0070C0"/>
                </a:solidFill>
              </a:rPr>
              <a:t>Project </a:t>
            </a:r>
            <a:r>
              <a:rPr lang="en-GB" altLang="fr-FR" sz="1800" b="0" dirty="0">
                <a:solidFill>
                  <a:srgbClr val="0070C0"/>
                </a:solidFill>
              </a:rPr>
              <a:t>2b: Contract management</a:t>
            </a:r>
          </a:p>
          <a:p>
            <a:pPr lvl="2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1800" b="1" dirty="0" smtClean="0">
                <a:solidFill>
                  <a:srgbClr val="0070C0"/>
                </a:solidFill>
              </a:rPr>
              <a:t>Business requirements and re-use </a:t>
            </a:r>
            <a:r>
              <a:rPr lang="en-GB" altLang="fr-FR" sz="1800" dirty="0" smtClean="0">
                <a:solidFill>
                  <a:srgbClr val="0070C0"/>
                </a:solidFill>
              </a:rPr>
              <a:t>until June: </a:t>
            </a:r>
          </a:p>
          <a:p>
            <a:pPr lvl="2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1800" dirty="0" smtClean="0">
                <a:solidFill>
                  <a:srgbClr val="00B050"/>
                </a:solidFill>
              </a:rPr>
              <a:t>Business </a:t>
            </a:r>
            <a:r>
              <a:rPr lang="en-GB" altLang="fr-FR" sz="1800" dirty="0">
                <a:solidFill>
                  <a:srgbClr val="00B050"/>
                </a:solidFill>
              </a:rPr>
              <a:t>Manager: </a:t>
            </a:r>
            <a:r>
              <a:rPr lang="en-GB" altLang="fr-FR" sz="1800" dirty="0" smtClean="0">
                <a:solidFill>
                  <a:srgbClr val="00B050"/>
                </a:solidFill>
              </a:rPr>
              <a:t>PONCELET Jean-Yves</a:t>
            </a:r>
            <a:endParaRPr lang="en-GB" altLang="fr-FR" sz="1800" dirty="0">
              <a:solidFill>
                <a:srgbClr val="00B050"/>
              </a:solidFill>
            </a:endParaRPr>
          </a:p>
          <a:p>
            <a:endParaRPr lang="en-US" altLang="en-US" sz="2000" dirty="0" smtClean="0"/>
          </a:p>
        </p:txBody>
      </p:sp>
      <p:sp>
        <p:nvSpPr>
          <p:cNvPr id="4" name="Slide Number Placeholder 1"/>
          <p:cNvSpPr txBox="1">
            <a:spLocks/>
          </p:cNvSpPr>
          <p:nvPr/>
        </p:nvSpPr>
        <p:spPr bwMode="auto">
          <a:xfrm>
            <a:off x="4283968" y="6597352"/>
            <a:ext cx="437704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9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69168" y="0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fr-BE" altLang="en-US" sz="3200" kern="0" dirty="0" err="1" smtClean="0">
                <a:solidFill>
                  <a:schemeClr val="bg1"/>
                </a:solidFill>
              </a:rPr>
              <a:t>What’s</a:t>
            </a:r>
            <a:r>
              <a:rPr lang="fr-BE" altLang="en-US" sz="3200" kern="0" dirty="0" smtClean="0">
                <a:solidFill>
                  <a:schemeClr val="bg1"/>
                </a:solidFill>
              </a:rPr>
              <a:t> </a:t>
            </a:r>
            <a:r>
              <a:rPr lang="fr-BE" altLang="en-US" sz="3200" kern="0" dirty="0" err="1" smtClean="0">
                <a:solidFill>
                  <a:schemeClr val="bg1"/>
                </a:solidFill>
              </a:rPr>
              <a:t>next</a:t>
            </a:r>
            <a:r>
              <a:rPr lang="fr-BE" altLang="en-US" sz="3200" kern="0" dirty="0" smtClean="0">
                <a:solidFill>
                  <a:schemeClr val="bg1"/>
                </a:solidFill>
              </a:rPr>
              <a:t> ?</a:t>
            </a:r>
            <a:endParaRPr lang="en-GB" altLang="en-US" kern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815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468313" y="404813"/>
            <a:ext cx="8229600" cy="576262"/>
          </a:xfrm>
        </p:spPr>
        <p:txBody>
          <a:bodyPr/>
          <a:lstStyle/>
          <a:p>
            <a:r>
              <a:rPr lang="en-GB" altLang="fr-FR" smtClean="0">
                <a:solidFill>
                  <a:schemeClr val="bg1"/>
                </a:solidFill>
              </a:rPr>
              <a:t>Agenda</a:t>
            </a:r>
            <a:br>
              <a:rPr lang="en-GB" altLang="fr-FR" smtClean="0">
                <a:solidFill>
                  <a:schemeClr val="bg1"/>
                </a:solidFill>
              </a:rPr>
            </a:br>
            <a:endParaRPr lang="en-GB" altLang="en-US" smtClean="0">
              <a:solidFill>
                <a:schemeClr val="bg1"/>
              </a:solidFill>
            </a:endParaRP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606386" y="1484784"/>
            <a:ext cx="8569325" cy="5328592"/>
          </a:xfrm>
        </p:spPr>
        <p:txBody>
          <a:bodyPr/>
          <a:lstStyle/>
          <a:p>
            <a:pPr marL="457200" indent="-457200">
              <a:spcAft>
                <a:spcPts val="300"/>
              </a:spcAft>
              <a:buClrTx/>
              <a:buFont typeface="Verdana" pitchFamily="34" charset="0"/>
              <a:buAutoNum type="arabicPeriod"/>
            </a:pPr>
            <a:r>
              <a:rPr lang="fr-BE" altLang="fr-FR" sz="2000" b="1" dirty="0" smtClean="0">
                <a:latin typeface="Georgia" panose="02040502050405020303" pitchFamily="18" charset="0"/>
              </a:rPr>
              <a:t>Introduction</a:t>
            </a:r>
          </a:p>
          <a:p>
            <a:pPr marL="457200" indent="-457200">
              <a:spcAft>
                <a:spcPts val="300"/>
              </a:spcAft>
              <a:buClrTx/>
              <a:buFont typeface="Verdana" pitchFamily="34" charset="0"/>
              <a:buAutoNum type="arabicPeriod"/>
            </a:pPr>
            <a:r>
              <a:rPr lang="fr-BE" altLang="fr-FR" sz="2000" b="1" dirty="0" err="1" smtClean="0">
                <a:latin typeface="Georgia" panose="02040502050405020303" pitchFamily="18" charset="0"/>
              </a:rPr>
              <a:t>What</a:t>
            </a:r>
            <a:r>
              <a:rPr lang="fr-BE" altLang="fr-FR" sz="2000" b="1" dirty="0" smtClean="0">
                <a:latin typeface="Georgia" panose="02040502050405020303" pitchFamily="18" charset="0"/>
              </a:rPr>
              <a:t> do </a:t>
            </a:r>
            <a:r>
              <a:rPr lang="fr-BE" altLang="fr-FR" sz="2000" b="1" dirty="0" err="1" smtClean="0">
                <a:latin typeface="Georgia" panose="02040502050405020303" pitchFamily="18" charset="0"/>
              </a:rPr>
              <a:t>you</a:t>
            </a:r>
            <a:r>
              <a:rPr lang="fr-BE" altLang="fr-FR" sz="2000" b="1" dirty="0" smtClean="0">
                <a:latin typeface="Georgia" panose="02040502050405020303" pitchFamily="18" charset="0"/>
              </a:rPr>
              <a:t> </a:t>
            </a:r>
            <a:r>
              <a:rPr lang="fr-BE" altLang="fr-FR" sz="2000" b="1" dirty="0" err="1" smtClean="0">
                <a:latin typeface="Georgia" panose="02040502050405020303" pitchFamily="18" charset="0"/>
              </a:rPr>
              <a:t>need</a:t>
            </a:r>
            <a:r>
              <a:rPr lang="fr-BE" altLang="fr-FR" sz="2000" b="1" dirty="0" smtClean="0">
                <a:latin typeface="Georgia" panose="02040502050405020303" pitchFamily="18" charset="0"/>
              </a:rPr>
              <a:t> to know about </a:t>
            </a:r>
            <a:r>
              <a:rPr lang="fr-BE" altLang="fr-FR" sz="2000" b="1" dirty="0" err="1" smtClean="0">
                <a:latin typeface="Georgia" panose="02040502050405020303" pitchFamily="18" charset="0"/>
              </a:rPr>
              <a:t>OpSys</a:t>
            </a:r>
            <a:r>
              <a:rPr lang="fr-BE" altLang="fr-FR" sz="2000" b="1" dirty="0">
                <a:latin typeface="Georgia" panose="02040502050405020303" pitchFamily="18" charset="0"/>
              </a:rPr>
              <a:t>?</a:t>
            </a:r>
            <a:endParaRPr lang="fr-BE" altLang="fr-FR" sz="2000" b="1" dirty="0" smtClean="0">
              <a:latin typeface="Georgia" panose="02040502050405020303" pitchFamily="18" charset="0"/>
            </a:endParaRP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OpSys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 objectives and </a:t>
            </a: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benefits</a:t>
            </a:r>
            <a:endParaRPr lang="fr-BE" altLang="fr-FR" sz="1800" dirty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OpSys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process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overview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 </a:t>
            </a: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OpSys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 programme and </a:t>
            </a: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projects</a:t>
            </a:r>
            <a:endParaRPr lang="fr-BE" altLang="fr-FR" sz="1800" dirty="0">
              <a:latin typeface="Georgia" panose="02040502050405020303" pitchFamily="18" charset="0"/>
              <a:ea typeface="+mn-ea"/>
              <a:cs typeface="+mn-cs"/>
            </a:endParaRPr>
          </a:p>
          <a:p>
            <a:pPr marL="457200" indent="-457200">
              <a:spcAft>
                <a:spcPts val="300"/>
              </a:spcAft>
              <a:buClrTx/>
              <a:buFont typeface="Verdana" pitchFamily="34" charset="0"/>
              <a:buAutoNum type="arabicPeriod"/>
            </a:pPr>
            <a:r>
              <a:rPr lang="fr-BE" altLang="fr-FR" sz="2000" b="1" dirty="0" smtClean="0">
                <a:latin typeface="Georgia" panose="02040502050405020303" pitchFamily="18" charset="0"/>
              </a:rPr>
              <a:t>How do </a:t>
            </a:r>
            <a:r>
              <a:rPr lang="fr-BE" altLang="fr-FR" sz="2000" b="1" dirty="0" err="1" smtClean="0">
                <a:latin typeface="Georgia" panose="02040502050405020303" pitchFamily="18" charset="0"/>
              </a:rPr>
              <a:t>we</a:t>
            </a:r>
            <a:r>
              <a:rPr lang="fr-BE" altLang="fr-FR" sz="2000" b="1" dirty="0" smtClean="0">
                <a:latin typeface="Georgia" panose="02040502050405020303" pitchFamily="18" charset="0"/>
              </a:rPr>
              <a:t> </a:t>
            </a:r>
            <a:r>
              <a:rPr lang="fr-BE" altLang="fr-FR" sz="2000" b="1" dirty="0" err="1" smtClean="0">
                <a:latin typeface="Georgia" panose="02040502050405020303" pitchFamily="18" charset="0"/>
              </a:rPr>
              <a:t>work</a:t>
            </a:r>
            <a:r>
              <a:rPr lang="fr-BE" altLang="fr-FR" sz="2000" b="1" dirty="0" smtClean="0">
                <a:latin typeface="Georgia" panose="02040502050405020303" pitchFamily="18" charset="0"/>
              </a:rPr>
              <a:t> </a:t>
            </a:r>
            <a:r>
              <a:rPr lang="fr-BE" altLang="fr-FR" sz="2000" b="1" dirty="0" err="1" smtClean="0">
                <a:latin typeface="Georgia" panose="02040502050405020303" pitchFamily="18" charset="0"/>
              </a:rPr>
              <a:t>together</a:t>
            </a:r>
            <a:r>
              <a:rPr lang="fr-BE" altLang="fr-FR" sz="2000" b="1" dirty="0" smtClean="0">
                <a:latin typeface="Georgia" panose="02040502050405020303" pitchFamily="18" charset="0"/>
              </a:rPr>
              <a:t>?</a:t>
            </a: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OpSys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 Programme </a:t>
            </a: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governance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 </a:t>
            </a: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PUC </a:t>
            </a:r>
            <a:r>
              <a:rPr lang="fr-BE" altLang="fr-FR" sz="1800" dirty="0" err="1" smtClean="0">
                <a:latin typeface="Georgia" panose="02040502050405020303" pitchFamily="18" charset="0"/>
                <a:ea typeface="+mn-ea"/>
                <a:cs typeface="+mn-cs"/>
              </a:rPr>
              <a:t>responsibilities</a:t>
            </a:r>
            <a:r>
              <a:rPr lang="fr-BE" altLang="fr-FR" sz="1800" dirty="0" smtClean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and </a:t>
            </a: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your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altLang="fr-FR" sz="1800" dirty="0" err="1" smtClean="0">
                <a:latin typeface="Georgia" panose="02040502050405020303" pitchFamily="18" charset="0"/>
                <a:ea typeface="+mn-ea"/>
                <a:cs typeface="+mn-cs"/>
              </a:rPr>
              <a:t>role</a:t>
            </a:r>
            <a:endParaRPr lang="fr-BE" altLang="fr-FR" sz="1800" dirty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Domain user groups and </a:t>
            </a:r>
            <a:r>
              <a:rPr lang="en-GB" altLang="fr-FR" sz="1800" dirty="0">
                <a:latin typeface="Georgia" panose="02040502050405020303" pitchFamily="18" charset="0"/>
                <a:ea typeface="+mn-ea"/>
                <a:cs typeface="+mn-cs"/>
              </a:rPr>
              <a:t>objectives</a:t>
            </a:r>
            <a:endParaRPr lang="en-GB" altLang="en-US" sz="1800" dirty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Working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with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 EU </a:t>
            </a: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delegations</a:t>
            </a:r>
            <a:endParaRPr lang="fr-BE" altLang="fr-FR" sz="1800" dirty="0">
              <a:latin typeface="Georgia" panose="02040502050405020303" pitchFamily="18" charset="0"/>
              <a:ea typeface="+mn-ea"/>
              <a:cs typeface="+mn-cs"/>
            </a:endParaRPr>
          </a:p>
          <a:p>
            <a:pPr marL="457200" indent="-457200">
              <a:spcAft>
                <a:spcPts val="1200"/>
              </a:spcAft>
              <a:buClrTx/>
              <a:buFont typeface="Verdana" pitchFamily="34" charset="0"/>
              <a:buAutoNum type="arabicPeriod"/>
            </a:pPr>
            <a:r>
              <a:rPr lang="fr-BE" altLang="fr-FR" sz="2000" b="1" dirty="0" err="1" smtClean="0">
                <a:latin typeface="Georgia" panose="02040502050405020303" pitchFamily="18" charset="0"/>
              </a:rPr>
              <a:t>What</a:t>
            </a:r>
            <a:r>
              <a:rPr lang="fr-BE" altLang="fr-FR" sz="2000" b="1" dirty="0" smtClean="0">
                <a:latin typeface="Georgia" panose="02040502050405020303" pitchFamily="18" charset="0"/>
              </a:rPr>
              <a:t> to </a:t>
            </a:r>
            <a:r>
              <a:rPr lang="fr-BE" altLang="fr-FR" sz="2000" b="1" dirty="0" err="1" smtClean="0">
                <a:latin typeface="Georgia" panose="02040502050405020303" pitchFamily="18" charset="0"/>
              </a:rPr>
              <a:t>expect</a:t>
            </a:r>
            <a:r>
              <a:rPr lang="fr-BE" altLang="fr-FR" sz="2000" b="1" dirty="0" smtClean="0">
                <a:latin typeface="Georgia" panose="02040502050405020303" pitchFamily="18" charset="0"/>
              </a:rPr>
              <a:t> in 2016 ?</a:t>
            </a: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en-US" sz="1800" dirty="0">
                <a:latin typeface="Georgia" panose="02040502050405020303" pitchFamily="18" charset="0"/>
                <a:ea typeface="+mn-ea"/>
                <a:cs typeface="+mn-cs"/>
              </a:rPr>
              <a:t>Main activities and key milestones</a:t>
            </a: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Next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steps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altLang="fr-FR" sz="1800" dirty="0" smtClean="0">
                <a:latin typeface="Georgia" panose="02040502050405020303" pitchFamily="18" charset="0"/>
                <a:ea typeface="+mn-ea"/>
                <a:cs typeface="+mn-cs"/>
              </a:rPr>
              <a:t>, </a:t>
            </a:r>
            <a:r>
              <a:rPr lang="fr-BE" altLang="fr-FR" sz="1800" dirty="0" err="1">
                <a:latin typeface="Georgia" panose="02040502050405020303" pitchFamily="18" charset="0"/>
                <a:ea typeface="+mn-ea"/>
                <a:cs typeface="+mn-cs"/>
              </a:rPr>
              <a:t>your</a:t>
            </a:r>
            <a:r>
              <a:rPr lang="fr-BE" altLang="fr-FR" sz="1800" dirty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altLang="fr-FR" sz="1800" dirty="0" smtClean="0">
                <a:latin typeface="Georgia" panose="02040502050405020303" pitchFamily="18" charset="0"/>
                <a:ea typeface="+mn-ea"/>
                <a:cs typeface="+mn-cs"/>
              </a:rPr>
              <a:t>contribution</a:t>
            </a:r>
          </a:p>
        </p:txBody>
      </p:sp>
      <p:sp>
        <p:nvSpPr>
          <p:cNvPr id="18436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4427984" y="6597352"/>
            <a:ext cx="261392" cy="476250"/>
          </a:xfrm>
          <a:noFill/>
        </p:spPr>
        <p:txBody>
          <a:bodyPr/>
          <a:lstStyle>
            <a:lvl1pPr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2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727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ossible agenda </a:t>
            </a:r>
            <a:r>
              <a:rPr lang="en-GB" dirty="0"/>
              <a:t>points for </a:t>
            </a:r>
            <a:r>
              <a:rPr lang="en-GB" dirty="0" smtClean="0"/>
              <a:t>next </a:t>
            </a:r>
            <a:r>
              <a:rPr lang="en-GB" dirty="0"/>
              <a:t>PUC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FR" b="0" dirty="0" smtClean="0">
                <a:solidFill>
                  <a:srgbClr val="0070C0"/>
                </a:solidFill>
              </a:rPr>
              <a:t>Communication </a:t>
            </a:r>
            <a:r>
              <a:rPr lang="fr-FR" b="0" dirty="0" err="1">
                <a:solidFill>
                  <a:srgbClr val="0070C0"/>
                </a:solidFill>
              </a:rPr>
              <a:t>between</a:t>
            </a:r>
            <a:r>
              <a:rPr lang="fr-FR" b="0" dirty="0">
                <a:solidFill>
                  <a:srgbClr val="0070C0"/>
                </a:solidFill>
              </a:rPr>
              <a:t> </a:t>
            </a:r>
            <a:r>
              <a:rPr lang="fr-FR" b="0" dirty="0" err="1" smtClean="0">
                <a:solidFill>
                  <a:srgbClr val="0070C0"/>
                </a:solidFill>
              </a:rPr>
              <a:t>stakeholders</a:t>
            </a:r>
            <a:r>
              <a:rPr lang="fr-FR" b="0" dirty="0" smtClean="0">
                <a:solidFill>
                  <a:srgbClr val="0070C0"/>
                </a:solidFill>
              </a:rPr>
              <a:t> and communication </a:t>
            </a:r>
            <a:r>
              <a:rPr lang="fr-FR" b="0" dirty="0" err="1" smtClean="0">
                <a:solidFill>
                  <a:srgbClr val="0070C0"/>
                </a:solidFill>
              </a:rPr>
              <a:t>channels</a:t>
            </a:r>
            <a:endParaRPr lang="fr-FR" b="0" dirty="0" smtClean="0">
              <a:solidFill>
                <a:srgbClr val="0070C0"/>
              </a:solidFill>
            </a:endParaRP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FR" b="0" dirty="0" err="1" smtClean="0">
                <a:solidFill>
                  <a:srgbClr val="0070C0"/>
                </a:solidFill>
              </a:rPr>
              <a:t>Results</a:t>
            </a:r>
            <a:r>
              <a:rPr lang="fr-FR" b="0" dirty="0" smtClean="0">
                <a:solidFill>
                  <a:srgbClr val="0070C0"/>
                </a:solidFill>
              </a:rPr>
              <a:t> of the </a:t>
            </a:r>
            <a:r>
              <a:rPr lang="fr-FR" b="0" dirty="0" err="1" smtClean="0">
                <a:solidFill>
                  <a:srgbClr val="0070C0"/>
                </a:solidFill>
              </a:rPr>
              <a:t>reuse</a:t>
            </a:r>
            <a:r>
              <a:rPr lang="fr-FR" b="0" dirty="0" smtClean="0">
                <a:solidFill>
                  <a:srgbClr val="0070C0"/>
                </a:solidFill>
              </a:rPr>
              <a:t> </a:t>
            </a:r>
            <a:r>
              <a:rPr lang="fr-FR" b="0" dirty="0" err="1" smtClean="0">
                <a:solidFill>
                  <a:srgbClr val="0070C0"/>
                </a:solidFill>
              </a:rPr>
              <a:t>studies</a:t>
            </a:r>
            <a:endParaRPr lang="fr-FR" b="0" dirty="0" smtClean="0">
              <a:solidFill>
                <a:srgbClr val="0070C0"/>
              </a:solidFill>
            </a:endParaRP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FR" b="0" dirty="0" smtClean="0">
                <a:solidFill>
                  <a:srgbClr val="0070C0"/>
                </a:solidFill>
              </a:rPr>
              <a:t>Harmonisation</a:t>
            </a: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FR" b="0" dirty="0" err="1" smtClean="0">
                <a:solidFill>
                  <a:srgbClr val="0070C0"/>
                </a:solidFill>
              </a:rPr>
              <a:t>Projects</a:t>
            </a:r>
            <a:r>
              <a:rPr lang="fr-FR" b="0" dirty="0" smtClean="0">
                <a:solidFill>
                  <a:srgbClr val="0070C0"/>
                </a:solidFill>
              </a:rPr>
              <a:t> organisation, budget and timing</a:t>
            </a:r>
          </a:p>
          <a:p>
            <a:pPr lvl="1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FR" b="0" dirty="0" smtClean="0">
                <a:solidFill>
                  <a:srgbClr val="0070C0"/>
                </a:solidFill>
              </a:rPr>
              <a:t>Business </a:t>
            </a:r>
            <a:r>
              <a:rPr lang="fr-FR" b="0" dirty="0" err="1" smtClean="0">
                <a:solidFill>
                  <a:srgbClr val="0070C0"/>
                </a:solidFill>
              </a:rPr>
              <a:t>requirements</a:t>
            </a:r>
            <a:r>
              <a:rPr lang="fr-FR" b="0" dirty="0" smtClean="0">
                <a:solidFill>
                  <a:srgbClr val="0070C0"/>
                </a:solidFill>
              </a:rPr>
              <a:t> once </a:t>
            </a:r>
            <a:r>
              <a:rPr lang="fr-FR" b="0" dirty="0" err="1" smtClean="0">
                <a:solidFill>
                  <a:srgbClr val="0070C0"/>
                </a:solidFill>
              </a:rPr>
              <a:t>advanced</a:t>
            </a:r>
            <a:r>
              <a:rPr lang="fr-FR" b="0" dirty="0" smtClean="0">
                <a:solidFill>
                  <a:srgbClr val="0070C0"/>
                </a:solidFill>
              </a:rPr>
              <a:t> </a:t>
            </a:r>
            <a:r>
              <a:rPr lang="fr-FR" b="0" dirty="0" err="1" smtClean="0">
                <a:solidFill>
                  <a:srgbClr val="0070C0"/>
                </a:solidFill>
              </a:rPr>
              <a:t>enough</a:t>
            </a:r>
            <a:endParaRPr lang="fr-FR" b="0" dirty="0">
              <a:solidFill>
                <a:srgbClr val="0070C0"/>
              </a:solidFill>
            </a:endParaRPr>
          </a:p>
          <a:p>
            <a:endParaRPr lang="fr-BE" dirty="0" smtClean="0"/>
          </a:p>
          <a:p>
            <a:r>
              <a:rPr lang="fr-BE" dirty="0" err="1" smtClean="0"/>
              <a:t>Next</a:t>
            </a:r>
            <a:r>
              <a:rPr lang="fr-BE" dirty="0" smtClean="0"/>
              <a:t> PUC: 15 March 2016 </a:t>
            </a:r>
            <a:r>
              <a:rPr lang="fr-BE" dirty="0" err="1" smtClean="0"/>
              <a:t>at</a:t>
            </a:r>
            <a:r>
              <a:rPr lang="fr-BE" dirty="0" smtClean="0"/>
              <a:t> 9.30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AB10BA-40BC-49D9-8313-BE9ACC7EDE04}" type="slidenum">
              <a:rPr lang="en-GB" altLang="fr-FR" smtClean="0">
                <a:solidFill>
                  <a:srgbClr val="000000"/>
                </a:solidFill>
              </a:rPr>
              <a:pPr/>
              <a:t>20</a:t>
            </a:fld>
            <a:endParaRPr lang="en-GB" altLang="fr-FR">
              <a:solidFill>
                <a:srgbClr val="000000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69168" y="0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fr-BE" altLang="en-US" sz="3200" kern="0" dirty="0" err="1" smtClean="0">
                <a:solidFill>
                  <a:schemeClr val="bg1"/>
                </a:solidFill>
              </a:rPr>
              <a:t>What’s</a:t>
            </a:r>
            <a:r>
              <a:rPr lang="fr-BE" altLang="en-US" sz="3200" kern="0" dirty="0" smtClean="0">
                <a:solidFill>
                  <a:schemeClr val="bg1"/>
                </a:solidFill>
              </a:rPr>
              <a:t> </a:t>
            </a:r>
            <a:r>
              <a:rPr lang="fr-BE" altLang="en-US" sz="3200" kern="0" dirty="0" err="1" smtClean="0">
                <a:solidFill>
                  <a:schemeClr val="bg1"/>
                </a:solidFill>
              </a:rPr>
              <a:t>next</a:t>
            </a:r>
            <a:r>
              <a:rPr lang="fr-BE" altLang="en-US" sz="3200" kern="0" dirty="0" smtClean="0">
                <a:solidFill>
                  <a:schemeClr val="bg1"/>
                </a:solidFill>
              </a:rPr>
              <a:t> ?</a:t>
            </a:r>
            <a:endParaRPr lang="en-GB" altLang="en-US" kern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606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>
          <a:xfrm>
            <a:off x="169168" y="1270535"/>
            <a:ext cx="8229600" cy="936625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fr-BE" altLang="fr-FR" sz="2800" dirty="0" err="1" smtClean="0"/>
              <a:t>Your</a:t>
            </a:r>
            <a:r>
              <a:rPr lang="fr-BE" altLang="fr-FR" sz="2800" dirty="0" smtClean="0"/>
              <a:t> contribution:</a:t>
            </a:r>
            <a:endParaRPr lang="en-GB" altLang="en-US" sz="2800" dirty="0" smtClean="0"/>
          </a:p>
        </p:txBody>
      </p:sp>
      <p:sp>
        <p:nvSpPr>
          <p:cNvPr id="30723" name="Content Placeholder 1"/>
          <p:cNvSpPr>
            <a:spLocks noGrp="1"/>
          </p:cNvSpPr>
          <p:nvPr>
            <p:ph idx="1"/>
          </p:nvPr>
        </p:nvSpPr>
        <p:spPr>
          <a:xfrm>
            <a:off x="-193104" y="2204864"/>
            <a:ext cx="8954144" cy="5010880"/>
          </a:xfrm>
        </p:spPr>
        <p:txBody>
          <a:bodyPr/>
          <a:lstStyle/>
          <a:p>
            <a:pPr marL="857250" lvl="1" indent="-34290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b="0" dirty="0" smtClean="0">
                <a:solidFill>
                  <a:srgbClr val="0070C0"/>
                </a:solidFill>
              </a:rPr>
              <a:t>Report </a:t>
            </a:r>
            <a:r>
              <a:rPr lang="en-GB" altLang="fr-FR" b="0" dirty="0">
                <a:solidFill>
                  <a:srgbClr val="0070C0"/>
                </a:solidFill>
              </a:rPr>
              <a:t>to your senior managers and PSC </a:t>
            </a:r>
            <a:r>
              <a:rPr lang="en-GB" altLang="fr-FR" b="0" dirty="0" smtClean="0">
                <a:solidFill>
                  <a:srgbClr val="0070C0"/>
                </a:solidFill>
              </a:rPr>
              <a:t>members</a:t>
            </a:r>
          </a:p>
          <a:p>
            <a:pPr marL="857250" lvl="1" indent="-34290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b="0" dirty="0" smtClean="0">
                <a:solidFill>
                  <a:srgbClr val="0070C0"/>
                </a:solidFill>
              </a:rPr>
              <a:t>Clarifications </a:t>
            </a:r>
            <a:r>
              <a:rPr lang="en-GB" altLang="fr-FR" b="0" dirty="0">
                <a:solidFill>
                  <a:srgbClr val="0070C0"/>
                </a:solidFill>
              </a:rPr>
              <a:t>on PSC membership where needed (first PSC on 01/02/2015)</a:t>
            </a:r>
          </a:p>
          <a:p>
            <a:pPr marL="857250" lvl="1" indent="-34290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b="0" dirty="0" smtClean="0">
                <a:solidFill>
                  <a:srgbClr val="0070C0"/>
                </a:solidFill>
              </a:rPr>
              <a:t>By 29/01/2016 identify business domain experts in view of participating to the domain user </a:t>
            </a:r>
            <a:r>
              <a:rPr lang="en-GB" altLang="fr-FR" dirty="0">
                <a:solidFill>
                  <a:srgbClr val="0070C0"/>
                </a:solidFill>
              </a:rPr>
              <a:t>groups for business requirement gathering </a:t>
            </a:r>
            <a:r>
              <a:rPr lang="en-GB" altLang="fr-FR" dirty="0" smtClean="0">
                <a:solidFill>
                  <a:srgbClr val="0070C0"/>
                </a:solidFill>
              </a:rPr>
              <a:t>on:</a:t>
            </a:r>
          </a:p>
          <a:p>
            <a:pPr lvl="3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dirty="0">
                <a:solidFill>
                  <a:srgbClr val="0070C0"/>
                </a:solidFill>
              </a:rPr>
              <a:t>Results management &amp;  Operational entities</a:t>
            </a:r>
          </a:p>
          <a:p>
            <a:pPr lvl="3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FR" altLang="fr-FR" dirty="0">
                <a:solidFill>
                  <a:srgbClr val="0070C0"/>
                </a:solidFill>
              </a:rPr>
              <a:t>Action management</a:t>
            </a:r>
            <a:endParaRPr lang="en-GB" altLang="fr-FR" dirty="0">
              <a:solidFill>
                <a:srgbClr val="0070C0"/>
              </a:solidFill>
            </a:endParaRPr>
          </a:p>
          <a:p>
            <a:pPr lvl="3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dirty="0">
                <a:solidFill>
                  <a:srgbClr val="0070C0"/>
                </a:solidFill>
              </a:rPr>
              <a:t>Contract </a:t>
            </a:r>
            <a:r>
              <a:rPr lang="en-GB" altLang="fr-FR" dirty="0" smtClean="0">
                <a:solidFill>
                  <a:srgbClr val="0070C0"/>
                </a:solidFill>
              </a:rPr>
              <a:t>management (building on the existing lists/CRIS ABAC)</a:t>
            </a:r>
            <a:endParaRPr lang="en-GB" altLang="fr-FR" dirty="0">
              <a:solidFill>
                <a:srgbClr val="0070C0"/>
              </a:solidFill>
            </a:endParaRPr>
          </a:p>
          <a:p>
            <a:endParaRPr lang="en-US" altLang="en-US" sz="2000" dirty="0" smtClean="0"/>
          </a:p>
        </p:txBody>
      </p:sp>
      <p:sp>
        <p:nvSpPr>
          <p:cNvPr id="4" name="Slide Number Placeholder 1"/>
          <p:cNvSpPr txBox="1">
            <a:spLocks/>
          </p:cNvSpPr>
          <p:nvPr/>
        </p:nvSpPr>
        <p:spPr bwMode="auto">
          <a:xfrm>
            <a:off x="4283968" y="6597352"/>
            <a:ext cx="437704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21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69168" y="0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fr-BE" altLang="en-US" sz="3200" kern="0" dirty="0" err="1" smtClean="0">
                <a:solidFill>
                  <a:schemeClr val="bg1"/>
                </a:solidFill>
              </a:rPr>
              <a:t>What’s</a:t>
            </a:r>
            <a:r>
              <a:rPr lang="fr-BE" altLang="en-US" sz="3200" kern="0" dirty="0" smtClean="0">
                <a:solidFill>
                  <a:schemeClr val="bg1"/>
                </a:solidFill>
              </a:rPr>
              <a:t> </a:t>
            </a:r>
            <a:r>
              <a:rPr lang="fr-BE" altLang="en-US" sz="3200" kern="0" dirty="0" err="1" smtClean="0">
                <a:solidFill>
                  <a:schemeClr val="bg1"/>
                </a:solidFill>
              </a:rPr>
              <a:t>next</a:t>
            </a:r>
            <a:r>
              <a:rPr lang="fr-BE" altLang="en-US" sz="3200" kern="0" dirty="0" smtClean="0">
                <a:solidFill>
                  <a:schemeClr val="bg1"/>
                </a:solidFill>
              </a:rPr>
              <a:t> ?</a:t>
            </a:r>
            <a:endParaRPr lang="en-GB" altLang="en-US" kern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284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BE" dirty="0" err="1" smtClean="0"/>
              <a:t>Thank</a:t>
            </a:r>
            <a:r>
              <a:rPr lang="fr-BE" dirty="0" smtClean="0"/>
              <a:t> </a:t>
            </a:r>
            <a:r>
              <a:rPr lang="fr-BE" dirty="0" err="1" smtClean="0"/>
              <a:t>you</a:t>
            </a:r>
            <a:r>
              <a:rPr lang="fr-BE" dirty="0" smtClean="0"/>
              <a:t> for </a:t>
            </a:r>
            <a:r>
              <a:rPr lang="fr-BE" dirty="0" err="1" smtClean="0"/>
              <a:t>your</a:t>
            </a:r>
            <a:r>
              <a:rPr lang="fr-BE" dirty="0" smtClean="0"/>
              <a:t> atten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AB10BA-40BC-49D9-8313-BE9ACC7EDE04}" type="slidenum">
              <a:rPr lang="en-GB" altLang="fr-FR" smtClean="0">
                <a:solidFill>
                  <a:srgbClr val="000000"/>
                </a:solidFill>
              </a:rPr>
              <a:pPr/>
              <a:t>22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474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4925958"/>
              </p:ext>
            </p:extLst>
          </p:nvPr>
        </p:nvGraphicFramePr>
        <p:xfrm>
          <a:off x="550249" y="1447800"/>
          <a:ext cx="5926750" cy="4724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963375"/>
                <a:gridCol w="2963375"/>
              </a:tblGrid>
              <a:tr h="45141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nd 2016</a:t>
                      </a:r>
                      <a:endParaRPr lang="en-US" dirty="0"/>
                    </a:p>
                  </a:txBody>
                  <a:tcPr/>
                </a:tc>
              </a:tr>
              <a:tr h="451415">
                <a:tc gridSpan="2">
                  <a:txBody>
                    <a:bodyPr/>
                    <a:lstStyle/>
                    <a:p>
                      <a:r>
                        <a:rPr lang="en-US" dirty="0" smtClean="0"/>
                        <a:t>Release 1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630745">
                <a:tc gridSpan="2"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 dirty="0" smtClean="0"/>
                        <a:t>Results Management full</a:t>
                      </a:r>
                      <a:r>
                        <a:rPr lang="en-GB" sz="1400" baseline="0" dirty="0" smtClean="0"/>
                        <a:t> life cycle</a:t>
                      </a:r>
                      <a:endParaRPr lang="en-US" sz="140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150181">
                <a:tc gridSpan="2"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/>
                        <a:t>Define</a:t>
                      </a:r>
                      <a:r>
                        <a:rPr lang="en-US" sz="1400" baseline="0" dirty="0" smtClean="0"/>
                        <a:t> main business entities including MIPs, Actions, (Lead) </a:t>
                      </a:r>
                      <a:r>
                        <a:rPr lang="en-US" sz="1400" baseline="0" dirty="0" err="1" smtClean="0"/>
                        <a:t>Programmes</a:t>
                      </a:r>
                      <a:r>
                        <a:rPr lang="en-GB" sz="1400" baseline="0" dirty="0" smtClean="0"/>
                        <a:t>/Projects</a:t>
                      </a:r>
                      <a:r>
                        <a:rPr lang="en-US" sz="1400" baseline="0" dirty="0" smtClean="0"/>
                        <a:t>, Contracts, results, indicators, sectors, etc.</a:t>
                      </a:r>
                      <a:endParaRPr lang="en-US" sz="1400" dirty="0" smtClean="0"/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150181">
                <a:tc gridSpan="2"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 dirty="0" smtClean="0"/>
                        <a:t>Implementation Enabling Processes: management of (Lead)</a:t>
                      </a:r>
                      <a:r>
                        <a:rPr lang="en-GB" sz="1400" baseline="0" dirty="0" smtClean="0"/>
                        <a:t> Programme/Project</a:t>
                      </a:r>
                      <a:r>
                        <a:rPr lang="en-GB" sz="1400" dirty="0" smtClean="0"/>
                        <a:t> portfolio for Monitoring </a:t>
                      </a:r>
                      <a:r>
                        <a:rPr lang="en-GB" sz="1400" baseline="0" dirty="0" smtClean="0"/>
                        <a:t>and Evaluati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890463">
                <a:tc gridSpan="2"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/>
                        <a:t>Transparency, Reporting and Communication on (Lead)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baseline="0" dirty="0" err="1" smtClean="0"/>
                        <a:t>Programme</a:t>
                      </a:r>
                      <a:r>
                        <a:rPr lang="en-US" sz="1400" baseline="0" dirty="0" smtClean="0"/>
                        <a:t>/</a:t>
                      </a:r>
                      <a:r>
                        <a:rPr lang="en-GB" sz="1400" baseline="0" dirty="0" smtClean="0"/>
                        <a:t>Project</a:t>
                      </a:r>
                      <a:r>
                        <a:rPr lang="en-US" sz="1400" baseline="0" dirty="0" smtClean="0"/>
                        <a:t> entity - link to GIS and IATI</a:t>
                      </a:r>
                      <a:endParaRPr lang="en-US" sz="140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4830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Mapping Business Processes-Business </a:t>
            </a:r>
            <a:r>
              <a:rPr lang="en-US" dirty="0" smtClean="0"/>
              <a:t>Timeline-Releases – RELEASE 2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6567715"/>
              </p:ext>
            </p:extLst>
          </p:nvPr>
        </p:nvGraphicFramePr>
        <p:xfrm>
          <a:off x="304799" y="1447800"/>
          <a:ext cx="8686800" cy="544068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905001"/>
                <a:gridCol w="2133600"/>
                <a:gridCol w="2476499"/>
                <a:gridCol w="2171700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nd 20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nd 2017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A specific needs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B specific needs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 gridSpan="2"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tion and commitment level 1 management for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non ABAC-able functionalities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ract and other commitment level 2 management for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non ABAC-able functionalities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  <a:tr h="370840">
                <a:tc gridSpan="2"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nk to MIP entity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inalising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ction entity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ting-up (M)AAP/measure entity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ting-up Financing Agreement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nk with </a:t>
                      </a:r>
                      <a:r>
                        <a:rPr lang="en-US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gramme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Project entity</a:t>
                      </a: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ting-up different types of Contact entities (Budget support, grants, </a:t>
                      </a:r>
                      <a:r>
                        <a:rPr lang="en-US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gramme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stimates, etc. in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rect/Indirect/Shared management – </a:t>
                      </a:r>
                      <a:r>
                        <a:rPr lang="en-US" sz="14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e table in next slide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nk with Action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ntity and </a:t>
                      </a:r>
                      <a:r>
                        <a:rPr lang="en-US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gramme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Project</a:t>
                      </a: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  <a:tr h="370840"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A and 2B Common need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  <a:tr h="370840"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ong the life cycle of the MIP, Action and Contract: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ctor-tagging and other tagging (Incl.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ECD and IATI requirements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alytical breakdow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 Action and Contract: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or approvals and derogation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creens for ABAC-able part (BUDG </a:t>
                      </a:r>
                      <a:r>
                        <a:rPr lang="en-US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ebservices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mplates and check-list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cument management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5219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dirty="0" smtClean="0"/>
              <a:t>Main </a:t>
            </a:r>
            <a:r>
              <a:rPr lang="fr-FR" sz="1800" dirty="0" err="1" smtClean="0"/>
              <a:t>implementation</a:t>
            </a:r>
            <a:r>
              <a:rPr lang="fr-FR" sz="1800" dirty="0" smtClean="0"/>
              <a:t> </a:t>
            </a:r>
            <a:r>
              <a:rPr lang="fr-FR" sz="1800" dirty="0" err="1" smtClean="0"/>
              <a:t>modalities</a:t>
            </a:r>
            <a:r>
              <a:rPr lang="fr-FR" sz="1800" dirty="0" smtClean="0"/>
              <a:t> – </a:t>
            </a:r>
            <a:r>
              <a:rPr lang="fr-FR" sz="1800" dirty="0" err="1" smtClean="0"/>
              <a:t>spread</a:t>
            </a:r>
            <a:r>
              <a:rPr lang="fr-FR" sz="1800" dirty="0" smtClean="0"/>
              <a:t> over 2014</a:t>
            </a:r>
            <a:endParaRPr lang="en-GB" sz="18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7122379"/>
              </p:ext>
            </p:extLst>
          </p:nvPr>
        </p:nvGraphicFramePr>
        <p:xfrm>
          <a:off x="179512" y="2204864"/>
          <a:ext cx="8713792" cy="3951836"/>
        </p:xfrm>
        <a:graphic>
          <a:graphicData uri="http://schemas.openxmlformats.org/drawingml/2006/table">
            <a:tbl>
              <a:tblPr/>
              <a:tblGrid>
                <a:gridCol w="1555390"/>
                <a:gridCol w="448401"/>
                <a:gridCol w="384344"/>
                <a:gridCol w="448401"/>
                <a:gridCol w="384344"/>
                <a:gridCol w="448401"/>
                <a:gridCol w="384344"/>
                <a:gridCol w="400357"/>
                <a:gridCol w="384344"/>
                <a:gridCol w="400357"/>
                <a:gridCol w="384344"/>
                <a:gridCol w="400357"/>
                <a:gridCol w="384344"/>
                <a:gridCol w="384344"/>
                <a:gridCol w="384344"/>
                <a:gridCol w="384344"/>
                <a:gridCol w="384344"/>
                <a:gridCol w="384344"/>
                <a:gridCol w="384344"/>
              </a:tblGrid>
              <a:tr h="149836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ource: CRIS, contracts open in 2014 (new and existing)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98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raw data, before corrective actions)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9868"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98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act type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GB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Direct management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GB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direct management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GB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ared management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239738">
                <a:tc>
                  <a:txBody>
                    <a:bodyPr/>
                    <a:lstStyle/>
                    <a:p>
                      <a:pPr algn="l" fontAlgn="ctr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ontracts </a:t>
                      </a:r>
                    </a:p>
                  </a:txBody>
                  <a:tcPr marL="5819" marR="5819" marT="58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transactions L2  (incl modifications) </a:t>
                      </a:r>
                    </a:p>
                  </a:txBody>
                  <a:tcPr marL="5819" marR="5819" marT="58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value </a:t>
                      </a:r>
                    </a:p>
                  </a:txBody>
                  <a:tcPr marL="5819" marR="5819" marT="58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ontracts </a:t>
                      </a:r>
                    </a:p>
                  </a:txBody>
                  <a:tcPr marL="5819" marR="5819" marT="58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transactions L2 (incl modifications) </a:t>
                      </a:r>
                    </a:p>
                  </a:txBody>
                  <a:tcPr marL="5819" marR="5819" marT="58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alue</a:t>
                      </a:r>
                    </a:p>
                  </a:txBody>
                  <a:tcPr marL="5819" marR="5819" marT="58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ontracts </a:t>
                      </a:r>
                    </a:p>
                  </a:txBody>
                  <a:tcPr marL="5819" marR="5819" marT="58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transactions L2 (incl modifications) </a:t>
                      </a:r>
                    </a:p>
                  </a:txBody>
                  <a:tcPr marL="5819" marR="5819" marT="58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alue</a:t>
                      </a:r>
                    </a:p>
                  </a:txBody>
                  <a:tcPr marL="5819" marR="5819" marT="58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198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number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number 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€ million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number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number 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€ million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number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number 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€ million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7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ants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6,631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16,243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5,884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811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1,750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761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257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gramme Estimates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674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2,514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956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257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acts/Tender for Works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130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584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493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238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754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1,790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257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acts/Tender for Supplies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220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562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184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235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455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137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257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acts/Tender for Services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2,298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11,010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2,195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695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2,012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916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257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ecific contracts (incl FWC)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2,125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4,128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230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257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udget support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258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616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9,950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3973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egation Agreements IO EIB, EU MS, public and private bodies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6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14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14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1,417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4,379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12,900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4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257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oss Border Cooperation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27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2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162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951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7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U Trust Fund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2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4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59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2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257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thers (IO, Intra COM, private bodies)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848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1,047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499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32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121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249 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819" marR="5819" marT="58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19868"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25768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12,518 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5%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34,208 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4%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19,508 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1%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4,102 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%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11,985 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%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17,709 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6%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27 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%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162 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%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951 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%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9868"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9868"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GB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Grand total 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16,647 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46,355 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38,168 </a:t>
                      </a: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9" marR="5819" marT="58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3135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>
          <a:xfrm>
            <a:off x="468313" y="1268413"/>
            <a:ext cx="8229600" cy="792162"/>
          </a:xfrm>
        </p:spPr>
        <p:txBody>
          <a:bodyPr/>
          <a:lstStyle/>
          <a:p>
            <a:r>
              <a:rPr lang="en-GB" altLang="fr-FR" dirty="0" smtClean="0"/>
              <a:t>1. Introduction</a:t>
            </a:r>
            <a:endParaRPr lang="en-GB" altLang="en-US" dirty="0" smtClean="0"/>
          </a:p>
        </p:txBody>
      </p:sp>
      <p:sp>
        <p:nvSpPr>
          <p:cNvPr id="19460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ClrTx/>
              <a:buNone/>
            </a:pPr>
            <a:r>
              <a:rPr lang="fr-BE" b="1" dirty="0" smtClean="0">
                <a:latin typeface="Georgia" panose="02040502050405020303" pitchFamily="18" charset="0"/>
              </a:rPr>
              <a:t>A)- Objectives of the meeting</a:t>
            </a:r>
          </a:p>
          <a:p>
            <a:pPr>
              <a:buClrTx/>
              <a:buFont typeface="Wingdings" panose="05000000000000000000" pitchFamily="2" charset="2"/>
              <a:buChar char="ü"/>
            </a:pPr>
            <a:endParaRPr lang="fr-BE" b="0" dirty="0" smtClean="0">
              <a:latin typeface="Georgia" panose="02040502050405020303" pitchFamily="18" charset="0"/>
            </a:endParaRPr>
          </a:p>
          <a:p>
            <a:pPr>
              <a:buClrTx/>
              <a:buFont typeface="Wingdings" panose="05000000000000000000" pitchFamily="2" charset="2"/>
              <a:buChar char="ü"/>
            </a:pPr>
            <a:r>
              <a:rPr lang="fr-BE" b="0" dirty="0" err="1" smtClean="0">
                <a:latin typeface="Georgia" panose="02040502050405020303" pitchFamily="18" charset="0"/>
              </a:rPr>
              <a:t>Collaborating</a:t>
            </a:r>
            <a:r>
              <a:rPr lang="fr-BE" b="0" dirty="0" smtClean="0">
                <a:latin typeface="Georgia" panose="02040502050405020303" pitchFamily="18" charset="0"/>
              </a:rPr>
              <a:t> </a:t>
            </a:r>
            <a:r>
              <a:rPr lang="fr-BE" b="0" dirty="0" err="1" smtClean="0">
                <a:latin typeface="Georgia" panose="02040502050405020303" pitchFamily="18" charset="0"/>
              </a:rPr>
              <a:t>work</a:t>
            </a:r>
            <a:r>
              <a:rPr lang="fr-BE" b="0" dirty="0" smtClean="0">
                <a:latin typeface="Georgia" panose="02040502050405020303" pitchFamily="18" charset="0"/>
              </a:rPr>
              <a:t> </a:t>
            </a:r>
            <a:r>
              <a:rPr lang="fr-BE" b="0" dirty="0">
                <a:latin typeface="Georgia" panose="02040502050405020303" pitchFamily="18" charset="0"/>
              </a:rPr>
              <a:t>as a </a:t>
            </a:r>
            <a:r>
              <a:rPr lang="fr-BE" b="0" dirty="0" smtClean="0">
                <a:latin typeface="Georgia" panose="02040502050405020303" pitchFamily="18" charset="0"/>
              </a:rPr>
              <a:t>team</a:t>
            </a:r>
          </a:p>
          <a:p>
            <a:pPr>
              <a:buClrTx/>
              <a:buFont typeface="Wingdings" panose="05000000000000000000" pitchFamily="2" charset="2"/>
              <a:buChar char="ü"/>
            </a:pPr>
            <a:endParaRPr lang="en-GB" b="0" dirty="0">
              <a:latin typeface="Georgia" panose="02040502050405020303" pitchFamily="18" charset="0"/>
            </a:endParaRPr>
          </a:p>
          <a:p>
            <a:pPr>
              <a:buClrTx/>
              <a:buFont typeface="Wingdings" panose="05000000000000000000" pitchFamily="2" charset="2"/>
              <a:buChar char="ü"/>
            </a:pPr>
            <a:r>
              <a:rPr lang="en-GB" b="0" dirty="0">
                <a:latin typeface="Georgia" panose="02040502050405020303" pitchFamily="18" charset="0"/>
              </a:rPr>
              <a:t>Everybody on the same page about </a:t>
            </a:r>
            <a:r>
              <a:rPr lang="en-GB" b="0" dirty="0" err="1" smtClean="0">
                <a:latin typeface="Georgia" panose="02040502050405020303" pitchFamily="18" charset="0"/>
              </a:rPr>
              <a:t>OpSys</a:t>
            </a:r>
            <a:r>
              <a:rPr lang="en-GB" b="0" dirty="0" smtClean="0">
                <a:latin typeface="Georgia" panose="02040502050405020303" pitchFamily="18" charset="0"/>
              </a:rPr>
              <a:t/>
            </a:r>
            <a:br>
              <a:rPr lang="en-GB" b="0" dirty="0" smtClean="0">
                <a:latin typeface="Georgia" panose="02040502050405020303" pitchFamily="18" charset="0"/>
              </a:rPr>
            </a:br>
            <a:endParaRPr lang="en-GB" b="0" dirty="0">
              <a:latin typeface="Georgia" panose="02040502050405020303" pitchFamily="18" charset="0"/>
            </a:endParaRPr>
          </a:p>
          <a:p>
            <a:pPr>
              <a:buClrTx/>
              <a:buFont typeface="Wingdings" panose="05000000000000000000" pitchFamily="2" charset="2"/>
              <a:buChar char="ü"/>
            </a:pPr>
            <a:r>
              <a:rPr lang="en-GB" b="0" dirty="0">
                <a:latin typeface="Georgia" panose="02040502050405020303" pitchFamily="18" charset="0"/>
              </a:rPr>
              <a:t>Understanding about what is expected from you</a:t>
            </a: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3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pic>
        <p:nvPicPr>
          <p:cNvPr id="1026" name="Picture 2" descr="https://media.licdn.com/mpr/mpr/p/6/005/082/26f/195656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1573774"/>
            <a:ext cx="1433736" cy="143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1560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entagon 25"/>
          <p:cNvSpPr/>
          <p:nvPr/>
        </p:nvSpPr>
        <p:spPr bwMode="gray">
          <a:xfrm>
            <a:off x="8334718" y="3712913"/>
            <a:ext cx="773786" cy="367281"/>
          </a:xfrm>
          <a:prstGeom prst="homePlate">
            <a:avLst>
              <a:gd name="adj" fmla="val 50296"/>
            </a:avLst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0" hangingPunct="0">
              <a:defRPr/>
            </a:pPr>
            <a:endParaRPr lang="en-GB" sz="2400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24" name="Pentagon 23"/>
          <p:cNvSpPr/>
          <p:nvPr/>
        </p:nvSpPr>
        <p:spPr bwMode="gray">
          <a:xfrm>
            <a:off x="35496" y="3718451"/>
            <a:ext cx="689001" cy="366327"/>
          </a:xfrm>
          <a:prstGeom prst="homePlate">
            <a:avLst>
              <a:gd name="adj" fmla="val 0"/>
            </a:avLst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0" hangingPunct="0">
              <a:defRPr/>
            </a:pPr>
            <a:endParaRPr lang="en-GB" sz="2400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51569"/>
            <a:ext cx="8229600" cy="936625"/>
          </a:xfrm>
        </p:spPr>
        <p:txBody>
          <a:bodyPr/>
          <a:lstStyle/>
          <a:p>
            <a:r>
              <a:rPr lang="fr-BE" dirty="0" smtClean="0">
                <a:solidFill>
                  <a:schemeClr val="bg1"/>
                </a:solidFill>
              </a:rPr>
              <a:t>B) A </a:t>
            </a:r>
            <a:r>
              <a:rPr lang="fr-BE" dirty="0" err="1" smtClean="0">
                <a:solidFill>
                  <a:schemeClr val="bg1"/>
                </a:solidFill>
              </a:rPr>
              <a:t>brief</a:t>
            </a:r>
            <a:r>
              <a:rPr lang="fr-BE" dirty="0" smtClean="0">
                <a:solidFill>
                  <a:schemeClr val="bg1"/>
                </a:solidFill>
              </a:rPr>
              <a:t> </a:t>
            </a:r>
            <a:r>
              <a:rPr lang="fr-BE" dirty="0" err="1" smtClean="0">
                <a:solidFill>
                  <a:schemeClr val="bg1"/>
                </a:solidFill>
              </a:rPr>
              <a:t>histor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864" y="4509120"/>
            <a:ext cx="8229600" cy="3529013"/>
          </a:xfrm>
        </p:spPr>
        <p:txBody>
          <a:bodyPr/>
          <a:lstStyle/>
          <a:p>
            <a:pPr lvl="0"/>
            <a:endParaRPr lang="en-GB" sz="1600" dirty="0"/>
          </a:p>
          <a:p>
            <a:endParaRPr lang="en-GB" sz="1600" dirty="0"/>
          </a:p>
        </p:txBody>
      </p:sp>
      <p:sp>
        <p:nvSpPr>
          <p:cNvPr id="6" name="Rectangle 5"/>
          <p:cNvSpPr/>
          <p:nvPr/>
        </p:nvSpPr>
        <p:spPr>
          <a:xfrm>
            <a:off x="-324544" y="2395778"/>
            <a:ext cx="3209496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indent="-342900" algn="l" eaLnBrk="0" hangingPunct="0">
              <a:spcBef>
                <a:spcPct val="20000"/>
              </a:spcBef>
              <a:buClr>
                <a:schemeClr val="bg1"/>
              </a:buClr>
              <a:buChar char="•"/>
            </a:pPr>
            <a:r>
              <a:rPr lang="en-GB" sz="1600" b="1" i="1" dirty="0">
                <a:solidFill>
                  <a:srgbClr val="0F5494"/>
                </a:solidFill>
                <a:latin typeface="+mn-lt"/>
                <a:ea typeface="+mn-ea"/>
                <a:cs typeface="+mn-cs"/>
              </a:rPr>
              <a:t>June</a:t>
            </a:r>
            <a:r>
              <a:rPr lang="en-GB" sz="1600" i="1" dirty="0">
                <a:solidFill>
                  <a:srgbClr val="0F5494"/>
                </a:solidFill>
                <a:latin typeface="+mn-lt"/>
                <a:ea typeface="+mn-ea"/>
                <a:cs typeface="+mn-cs"/>
              </a:rPr>
              <a:t> 2014: </a:t>
            </a:r>
            <a:endParaRPr lang="en-GB" sz="1600" i="1" dirty="0" smtClean="0">
              <a:solidFill>
                <a:srgbClr val="0F5494"/>
              </a:solidFill>
              <a:latin typeface="+mn-lt"/>
              <a:ea typeface="+mn-ea"/>
              <a:cs typeface="+mn-cs"/>
            </a:endParaRPr>
          </a:p>
          <a:p>
            <a:pPr marL="342900" indent="-342900" algn="l" eaLnBrk="0" hangingPunct="0">
              <a:spcBef>
                <a:spcPct val="20000"/>
              </a:spcBef>
              <a:buClr>
                <a:schemeClr val="bg1"/>
              </a:buClr>
              <a:buChar char="•"/>
            </a:pPr>
            <a:r>
              <a:rPr lang="en-GB" sz="1600" i="1" dirty="0" smtClean="0">
                <a:solidFill>
                  <a:srgbClr val="0F5494"/>
                </a:solidFill>
                <a:latin typeface="+mn-lt"/>
                <a:ea typeface="+mn-ea"/>
                <a:cs typeface="+mn-cs"/>
              </a:rPr>
              <a:t>CRIS </a:t>
            </a:r>
            <a:r>
              <a:rPr lang="en-GB" sz="1600" i="1" dirty="0">
                <a:solidFill>
                  <a:srgbClr val="0F5494"/>
                </a:solidFill>
                <a:latin typeface="+mn-lt"/>
                <a:ea typeface="+mn-ea"/>
                <a:cs typeface="+mn-cs"/>
              </a:rPr>
              <a:t>ABAC </a:t>
            </a:r>
            <a:r>
              <a:rPr lang="en-GB" sz="1600" i="1" dirty="0" smtClean="0">
                <a:solidFill>
                  <a:srgbClr val="0F5494"/>
                </a:solidFill>
                <a:latin typeface="+mn-lt"/>
                <a:ea typeface="+mn-ea"/>
                <a:cs typeface="+mn-cs"/>
              </a:rPr>
              <a:t>rationalisation</a:t>
            </a:r>
          </a:p>
          <a:p>
            <a:pPr marL="342900" indent="-342900" algn="l" eaLnBrk="0" hangingPunct="0">
              <a:spcBef>
                <a:spcPct val="20000"/>
              </a:spcBef>
              <a:buClr>
                <a:schemeClr val="bg1"/>
              </a:buClr>
              <a:buChar char="•"/>
            </a:pPr>
            <a:r>
              <a:rPr lang="en-GB" sz="1600" i="1" dirty="0" smtClean="0">
                <a:solidFill>
                  <a:srgbClr val="0F5494"/>
                </a:solidFill>
                <a:latin typeface="+mn-lt"/>
                <a:ea typeface="+mn-ea"/>
                <a:cs typeface="+mn-cs"/>
              </a:rPr>
              <a:t>CRIS </a:t>
            </a:r>
            <a:r>
              <a:rPr lang="en-GB" sz="1600" i="1" dirty="0">
                <a:solidFill>
                  <a:srgbClr val="0F5494"/>
                </a:solidFill>
                <a:latin typeface="+mn-lt"/>
                <a:ea typeface="+mn-ea"/>
                <a:cs typeface="+mn-cs"/>
              </a:rPr>
              <a:t>phasing out</a:t>
            </a:r>
          </a:p>
        </p:txBody>
      </p:sp>
      <p:sp>
        <p:nvSpPr>
          <p:cNvPr id="7" name="Rectangle 6"/>
          <p:cNvSpPr/>
          <p:nvPr/>
        </p:nvSpPr>
        <p:spPr>
          <a:xfrm>
            <a:off x="2123728" y="1628800"/>
            <a:ext cx="318512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en-GB" sz="1600" b="1" i="1" kern="0" dirty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April</a:t>
            </a:r>
            <a:r>
              <a:rPr lang="en-GB" sz="1600" i="1" kern="0" dirty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2015: </a:t>
            </a:r>
            <a:r>
              <a:rPr lang="en-GB" sz="1600" i="1" kern="0" dirty="0" err="1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Opsys</a:t>
            </a:r>
            <a:r>
              <a:rPr lang="en-GB" sz="1600" i="1" kern="0" dirty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vision adopted by DEVCO IT SC</a:t>
            </a:r>
          </a:p>
        </p:txBody>
      </p:sp>
      <p:sp>
        <p:nvSpPr>
          <p:cNvPr id="8" name="Rectangle 7"/>
          <p:cNvSpPr/>
          <p:nvPr/>
        </p:nvSpPr>
        <p:spPr>
          <a:xfrm>
            <a:off x="2681536" y="5478323"/>
            <a:ext cx="30425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en-GB" sz="1600" b="1" i="1" kern="0" dirty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June</a:t>
            </a:r>
            <a:r>
              <a:rPr lang="en-GB" sz="1600" i="1" kern="0" dirty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2015, July 2015: endorsement by FPI and NEAR IT SC</a:t>
            </a:r>
          </a:p>
        </p:txBody>
      </p:sp>
      <p:sp>
        <p:nvSpPr>
          <p:cNvPr id="9" name="Rectangle 8"/>
          <p:cNvSpPr/>
          <p:nvPr/>
        </p:nvSpPr>
        <p:spPr>
          <a:xfrm>
            <a:off x="4650849" y="2628201"/>
            <a:ext cx="32403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en-GB" sz="1600" b="1" i="1" kern="0" dirty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August</a:t>
            </a:r>
            <a:r>
              <a:rPr lang="en-GB" sz="1600" i="1" kern="0" dirty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2015: creation of a dedicated unit, DEVCO 05</a:t>
            </a:r>
          </a:p>
        </p:txBody>
      </p:sp>
      <p:sp>
        <p:nvSpPr>
          <p:cNvPr id="10" name="Rectangle 9"/>
          <p:cNvSpPr/>
          <p:nvPr/>
        </p:nvSpPr>
        <p:spPr>
          <a:xfrm>
            <a:off x="5045749" y="4509120"/>
            <a:ext cx="24065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en-GB" sz="1600" b="1" i="1" kern="0" dirty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September</a:t>
            </a:r>
            <a:r>
              <a:rPr lang="en-GB" sz="1600" i="1" kern="0" dirty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2015: red light from IT Board: re-use issu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415045" y="5445224"/>
            <a:ext cx="283747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en-GB" sz="1600" b="1" i="1" kern="0" dirty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January</a:t>
            </a:r>
            <a:r>
              <a:rPr lang="en-GB" sz="1600" i="1" kern="0" dirty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2016</a:t>
            </a:r>
            <a:r>
              <a:rPr lang="en-GB" sz="1600" i="1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: </a:t>
            </a:r>
            <a:r>
              <a:rPr lang="en-GB" sz="1600" i="1" kern="0" dirty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05 team completed, green light from IT Board</a:t>
            </a:r>
          </a:p>
        </p:txBody>
      </p:sp>
      <p:sp>
        <p:nvSpPr>
          <p:cNvPr id="32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4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323528" y="3362222"/>
            <a:ext cx="0" cy="426818"/>
          </a:xfrm>
          <a:prstGeom prst="line">
            <a:avLst/>
          </a:prstGeom>
          <a:ln>
            <a:solidFill>
              <a:srgbClr val="968C6D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entagon 20"/>
          <p:cNvSpPr/>
          <p:nvPr/>
        </p:nvSpPr>
        <p:spPr bwMode="gray">
          <a:xfrm>
            <a:off x="838490" y="3716847"/>
            <a:ext cx="7369406" cy="367281"/>
          </a:xfrm>
          <a:prstGeom prst="homePlate">
            <a:avLst>
              <a:gd name="adj" fmla="val 0"/>
            </a:avLst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0" hangingPunct="0">
              <a:defRPr/>
            </a:pPr>
            <a:endParaRPr lang="en-GB" sz="2400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5496" y="3764632"/>
            <a:ext cx="89644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50" b="1" i="1" kern="0" dirty="0" smtClean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2014	Jan.</a:t>
            </a:r>
            <a:r>
              <a:rPr lang="en-GB" sz="1050" b="1" i="1" kern="0" dirty="0">
                <a:solidFill>
                  <a:srgbClr val="FFFFFF"/>
                </a:solidFill>
                <a:latin typeface="Verdana"/>
                <a:cs typeface="Arial" pitchFamily="34" charset="0"/>
              </a:rPr>
              <a:t> </a:t>
            </a:r>
            <a:r>
              <a:rPr lang="en-GB" sz="1050" b="1" i="1" kern="0" dirty="0" smtClean="0">
                <a:solidFill>
                  <a:srgbClr val="FFFFFF"/>
                </a:solidFill>
                <a:latin typeface="Verdana"/>
                <a:cs typeface="Arial" pitchFamily="34" charset="0"/>
              </a:rPr>
              <a:t>     </a:t>
            </a:r>
            <a:r>
              <a:rPr lang="en-GB" sz="1050" b="1" i="1" kern="0" dirty="0" smtClean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Feb</a:t>
            </a:r>
            <a:r>
              <a:rPr lang="en-GB" sz="1050" b="1" i="1" kern="0" dirty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.    </a:t>
            </a:r>
            <a:r>
              <a:rPr lang="en-GB" sz="1050" b="1" i="1" kern="0" dirty="0" smtClean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  </a:t>
            </a:r>
            <a:r>
              <a:rPr lang="en-GB" sz="1050" b="1" i="1" kern="0" dirty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Mar.    </a:t>
            </a:r>
            <a:r>
              <a:rPr lang="en-GB" sz="1050" b="1" i="1" kern="0" dirty="0" smtClean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  </a:t>
            </a:r>
            <a:r>
              <a:rPr lang="en-GB" sz="1050" b="1" i="1" kern="0" dirty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Apr.   </a:t>
            </a:r>
            <a:r>
              <a:rPr lang="en-GB" sz="1050" b="1" i="1" kern="0" dirty="0" smtClean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   </a:t>
            </a:r>
            <a:r>
              <a:rPr lang="en-GB" sz="1050" b="1" i="1" kern="0" dirty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May     </a:t>
            </a:r>
            <a:r>
              <a:rPr lang="en-GB" sz="1050" b="1" i="1" kern="0" dirty="0" smtClean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 </a:t>
            </a:r>
            <a:r>
              <a:rPr lang="en-GB" sz="1050" b="1" i="1" kern="0" dirty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Jun. </a:t>
            </a:r>
            <a:r>
              <a:rPr lang="en-GB" sz="1050" b="1" i="1" kern="0" dirty="0" smtClean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     </a:t>
            </a:r>
            <a:r>
              <a:rPr lang="en-GB" sz="1050" b="1" i="1" kern="0" dirty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Jul.  </a:t>
            </a:r>
            <a:r>
              <a:rPr lang="en-GB" sz="1050" b="1" i="1" kern="0" dirty="0" smtClean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    </a:t>
            </a:r>
            <a:r>
              <a:rPr lang="en-GB" sz="1050" b="1" i="1" kern="0" dirty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Aug.       Sep.       Oct.   </a:t>
            </a:r>
            <a:r>
              <a:rPr lang="en-GB" sz="1050" b="1" i="1" kern="0" dirty="0" smtClean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    </a:t>
            </a:r>
            <a:r>
              <a:rPr lang="en-GB" sz="1050" b="1" i="1" kern="0" dirty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Nov.     </a:t>
            </a:r>
            <a:r>
              <a:rPr lang="en-GB" sz="1050" b="1" i="1" kern="0" dirty="0" smtClean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  </a:t>
            </a:r>
            <a:r>
              <a:rPr lang="en-GB" sz="1050" b="1" i="1" kern="0" dirty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Dec</a:t>
            </a:r>
            <a:r>
              <a:rPr lang="en-GB" sz="1050" b="1" i="1" kern="0" dirty="0" smtClean="0">
                <a:solidFill>
                  <a:srgbClr val="FFFFFF"/>
                </a:solidFill>
                <a:latin typeface="Verdana"/>
                <a:ea typeface="+mn-ea"/>
                <a:cs typeface="Arial" pitchFamily="34" charset="0"/>
              </a:rPr>
              <a:t>.         2016</a:t>
            </a:r>
            <a:endParaRPr lang="en-GB" sz="1050" b="1" i="1" kern="0" dirty="0">
              <a:solidFill>
                <a:srgbClr val="FFFFFF"/>
              </a:solidFill>
              <a:latin typeface="Verdana"/>
              <a:ea typeface="+mn-ea"/>
              <a:cs typeface="Arial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8604448" y="4038841"/>
            <a:ext cx="0" cy="1403731"/>
          </a:xfrm>
          <a:prstGeom prst="line">
            <a:avLst/>
          </a:prstGeom>
          <a:ln>
            <a:solidFill>
              <a:srgbClr val="968C6D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3059832" y="2213575"/>
            <a:ext cx="0" cy="1504226"/>
          </a:xfrm>
          <a:prstGeom prst="line">
            <a:avLst/>
          </a:prstGeom>
          <a:ln>
            <a:solidFill>
              <a:srgbClr val="968C6D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5244663" y="3280975"/>
            <a:ext cx="0" cy="435872"/>
          </a:xfrm>
          <a:prstGeom prst="line">
            <a:avLst/>
          </a:prstGeom>
          <a:ln>
            <a:solidFill>
              <a:srgbClr val="968C6D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4163603" y="4063801"/>
            <a:ext cx="4896" cy="1276316"/>
          </a:xfrm>
          <a:prstGeom prst="line">
            <a:avLst/>
          </a:prstGeom>
          <a:ln>
            <a:solidFill>
              <a:srgbClr val="968C6D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6007864" y="4040630"/>
            <a:ext cx="4296" cy="468490"/>
          </a:xfrm>
          <a:prstGeom prst="line">
            <a:avLst/>
          </a:prstGeom>
          <a:ln>
            <a:solidFill>
              <a:srgbClr val="968C6D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3882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400" dirty="0" smtClean="0"/>
              <a:t>2. </a:t>
            </a:r>
            <a:r>
              <a:rPr lang="fr-BE" sz="2400" dirty="0" err="1" smtClean="0"/>
              <a:t>What</a:t>
            </a:r>
            <a:r>
              <a:rPr lang="fr-BE" sz="2400" dirty="0" smtClean="0"/>
              <a:t> do </a:t>
            </a:r>
            <a:r>
              <a:rPr lang="fr-BE" sz="2400" dirty="0" err="1" smtClean="0"/>
              <a:t>you</a:t>
            </a:r>
            <a:r>
              <a:rPr lang="fr-BE" sz="2400" dirty="0" smtClean="0"/>
              <a:t> </a:t>
            </a:r>
            <a:r>
              <a:rPr lang="fr-BE" sz="2400" dirty="0" err="1" smtClean="0"/>
              <a:t>need</a:t>
            </a:r>
            <a:r>
              <a:rPr lang="fr-BE" sz="2400" dirty="0" smtClean="0"/>
              <a:t> to know about </a:t>
            </a:r>
            <a:r>
              <a:rPr lang="fr-BE" sz="2400" dirty="0" err="1" smtClean="0"/>
              <a:t>OpSys</a:t>
            </a:r>
            <a:r>
              <a:rPr lang="fr-BE" sz="2400" dirty="0" smtClean="0"/>
              <a:t>?</a:t>
            </a:r>
            <a:endParaRPr lang="en-GB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2400" dirty="0" err="1">
                <a:latin typeface="Georgia" panose="02040502050405020303" pitchFamily="18" charset="0"/>
                <a:ea typeface="+mn-ea"/>
                <a:cs typeface="+mn-cs"/>
              </a:rPr>
              <a:t>OpSys</a:t>
            </a:r>
            <a:r>
              <a:rPr lang="fr-BE" altLang="fr-FR" sz="2400" dirty="0">
                <a:latin typeface="Georgia" panose="02040502050405020303" pitchFamily="18" charset="0"/>
                <a:ea typeface="+mn-ea"/>
                <a:cs typeface="+mn-cs"/>
              </a:rPr>
              <a:t> objectives &amp; </a:t>
            </a:r>
            <a:r>
              <a:rPr lang="fr-BE" altLang="fr-FR" sz="2400" dirty="0" err="1">
                <a:latin typeface="Georgia" panose="02040502050405020303" pitchFamily="18" charset="0"/>
                <a:ea typeface="+mn-ea"/>
                <a:cs typeface="+mn-cs"/>
              </a:rPr>
              <a:t>benefits</a:t>
            </a:r>
            <a:endParaRPr lang="fr-BE" altLang="fr-FR" sz="2400" dirty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endParaRPr lang="fr-BE" altLang="fr-FR" sz="2400" dirty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sz="2400" dirty="0" err="1">
                <a:latin typeface="Georgia" panose="02040502050405020303" pitchFamily="18" charset="0"/>
                <a:ea typeface="+mn-ea"/>
                <a:cs typeface="+mn-cs"/>
              </a:rPr>
              <a:t>Process</a:t>
            </a:r>
            <a:r>
              <a:rPr lang="fr-BE" sz="2400" dirty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sz="2400" dirty="0" err="1">
                <a:latin typeface="Georgia" panose="02040502050405020303" pitchFamily="18" charset="0"/>
                <a:ea typeface="+mn-ea"/>
                <a:cs typeface="+mn-cs"/>
              </a:rPr>
              <a:t>overview</a:t>
            </a:r>
            <a:r>
              <a:rPr lang="fr-BE" sz="2400" dirty="0">
                <a:latin typeface="Georgia" panose="02040502050405020303" pitchFamily="18" charset="0"/>
                <a:ea typeface="+mn-ea"/>
                <a:cs typeface="+mn-cs"/>
              </a:rPr>
              <a:t> &amp; </a:t>
            </a:r>
            <a:r>
              <a:rPr lang="fr-BE" sz="2400" dirty="0" err="1">
                <a:latin typeface="Georgia" panose="02040502050405020303" pitchFamily="18" charset="0"/>
                <a:ea typeface="+mn-ea"/>
                <a:cs typeface="+mn-cs"/>
              </a:rPr>
              <a:t>OpSys</a:t>
            </a:r>
            <a:r>
              <a:rPr lang="fr-BE" sz="2400" dirty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sz="2400" dirty="0" err="1">
                <a:latin typeface="Georgia" panose="02040502050405020303" pitchFamily="18" charset="0"/>
                <a:ea typeface="+mn-ea"/>
                <a:cs typeface="+mn-cs"/>
              </a:rPr>
              <a:t>coverage</a:t>
            </a:r>
            <a:endParaRPr lang="en-GB" sz="2400" dirty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endParaRPr lang="fr-BE" altLang="fr-FR" sz="2400" dirty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sz="2400" dirty="0" err="1">
                <a:latin typeface="Georgia" panose="02040502050405020303" pitchFamily="18" charset="0"/>
                <a:ea typeface="+mn-ea"/>
                <a:cs typeface="+mn-cs"/>
              </a:rPr>
              <a:t>OpSys</a:t>
            </a:r>
            <a:r>
              <a:rPr lang="fr-BE" sz="2400" dirty="0">
                <a:latin typeface="Georgia" panose="02040502050405020303" pitchFamily="18" charset="0"/>
                <a:ea typeface="+mn-ea"/>
                <a:cs typeface="+mn-cs"/>
              </a:rPr>
              <a:t> Programme and </a:t>
            </a:r>
            <a:r>
              <a:rPr lang="fr-BE" sz="2400" dirty="0" err="1">
                <a:latin typeface="Georgia" panose="02040502050405020303" pitchFamily="18" charset="0"/>
                <a:ea typeface="+mn-ea"/>
                <a:cs typeface="+mn-cs"/>
              </a:rPr>
              <a:t>projects</a:t>
            </a:r>
            <a:endParaRPr lang="fr-BE" sz="2400" dirty="0">
              <a:latin typeface="Georgia" panose="02040502050405020303" pitchFamily="18" charset="0"/>
              <a:ea typeface="+mn-ea"/>
              <a:cs typeface="+mn-cs"/>
            </a:endParaRPr>
          </a:p>
          <a:p>
            <a:endParaRPr lang="fr-BE" dirty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5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072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>
          <a:xfrm>
            <a:off x="467544" y="1124669"/>
            <a:ext cx="8229600" cy="792163"/>
          </a:xfrm>
        </p:spPr>
        <p:txBody>
          <a:bodyPr/>
          <a:lstStyle/>
          <a:p>
            <a:pPr marL="0" indent="0">
              <a:spcAft>
                <a:spcPts val="300"/>
              </a:spcAft>
            </a:pPr>
            <a:r>
              <a:rPr lang="fr-BE" altLang="fr-FR" sz="3200" dirty="0" err="1" smtClean="0"/>
              <a:t>OpSys</a:t>
            </a:r>
            <a:r>
              <a:rPr lang="fr-BE" altLang="fr-FR" sz="3200" dirty="0" smtClean="0"/>
              <a:t> Objectives</a:t>
            </a:r>
          </a:p>
        </p:txBody>
      </p:sp>
      <p:sp>
        <p:nvSpPr>
          <p:cNvPr id="20484" name="Content Placeholder 1"/>
          <p:cNvSpPr>
            <a:spLocks noGrp="1"/>
          </p:cNvSpPr>
          <p:nvPr>
            <p:ph idx="1"/>
          </p:nvPr>
        </p:nvSpPr>
        <p:spPr>
          <a:xfrm>
            <a:off x="107504" y="1844824"/>
            <a:ext cx="8928992" cy="4392488"/>
          </a:xfrm>
        </p:spPr>
        <p:txBody>
          <a:bodyPr/>
          <a:lstStyle/>
          <a:p>
            <a:pPr>
              <a:buClrTx/>
            </a:pPr>
            <a:r>
              <a:rPr lang="fr-BE" sz="2000" dirty="0" err="1" smtClean="0">
                <a:latin typeface="Georgia" panose="02040502050405020303" pitchFamily="18" charset="0"/>
              </a:rPr>
              <a:t>Overarching</a:t>
            </a:r>
            <a:r>
              <a:rPr lang="fr-BE" sz="2000" dirty="0" smtClean="0">
                <a:latin typeface="Georgia" panose="02040502050405020303" pitchFamily="18" charset="0"/>
              </a:rPr>
              <a:t>: </a:t>
            </a:r>
            <a:r>
              <a:rPr lang="fr-BE" sz="2000" b="1" dirty="0" err="1" smtClean="0">
                <a:latin typeface="Georgia" panose="02040502050405020303" pitchFamily="18" charset="0"/>
              </a:rPr>
              <a:t>contribute</a:t>
            </a:r>
            <a:r>
              <a:rPr lang="fr-BE" sz="2000" b="1" dirty="0" smtClean="0">
                <a:latin typeface="Georgia" panose="02040502050405020303" pitchFamily="18" charset="0"/>
              </a:rPr>
              <a:t> to </a:t>
            </a:r>
            <a:r>
              <a:rPr lang="fr-BE" sz="2000" b="1" dirty="0" err="1" smtClean="0">
                <a:latin typeface="Georgia" panose="02040502050405020303" pitchFamily="18" charset="0"/>
              </a:rPr>
              <a:t>improving</a:t>
            </a:r>
            <a:r>
              <a:rPr lang="fr-BE" sz="2000" b="1" dirty="0" smtClean="0">
                <a:latin typeface="Georgia" panose="02040502050405020303" pitchFamily="18" charset="0"/>
              </a:rPr>
              <a:t> the impact of </a:t>
            </a:r>
            <a:r>
              <a:rPr lang="fr-BE" sz="2000" b="1" dirty="0" err="1" smtClean="0">
                <a:latin typeface="Georgia" panose="02040502050405020303" pitchFamily="18" charset="0"/>
              </a:rPr>
              <a:t>external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aid</a:t>
            </a:r>
            <a:endParaRPr lang="fr-BE" sz="2000" b="1" dirty="0" smtClean="0">
              <a:latin typeface="Georgia" panose="02040502050405020303" pitchFamily="18" charset="0"/>
            </a:endParaRPr>
          </a:p>
          <a:p>
            <a:pPr>
              <a:buClrTx/>
            </a:pPr>
            <a:r>
              <a:rPr lang="fr-BE" sz="2000" b="1" dirty="0" err="1" smtClean="0">
                <a:latin typeface="Georgia" panose="02040502050405020303" pitchFamily="18" charset="0"/>
              </a:rPr>
              <a:t>Improve</a:t>
            </a:r>
            <a:r>
              <a:rPr lang="fr-BE" sz="2000" b="1" dirty="0" smtClean="0">
                <a:latin typeface="Georgia" panose="02040502050405020303" pitchFamily="18" charset="0"/>
              </a:rPr>
              <a:t> the </a:t>
            </a:r>
            <a:r>
              <a:rPr lang="fr-BE" sz="2000" b="1" dirty="0" err="1" smtClean="0">
                <a:latin typeface="Georgia" panose="02040502050405020303" pitchFamily="18" charset="0"/>
              </a:rPr>
              <a:t>way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we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work</a:t>
            </a:r>
            <a:r>
              <a:rPr lang="fr-BE" sz="2000" b="1" dirty="0">
                <a:latin typeface="Georgia" panose="02040502050405020303" pitchFamily="18" charset="0"/>
              </a:rPr>
              <a:t>: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greater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efficiency</a:t>
            </a:r>
            <a:endParaRPr lang="fr-BE" sz="2000" b="1" dirty="0" smtClean="0">
              <a:latin typeface="Georgia" panose="02040502050405020303" pitchFamily="18" charset="0"/>
            </a:endParaRPr>
          </a:p>
          <a:p>
            <a:pPr lvl="1">
              <a:buClrTx/>
            </a:pPr>
            <a:r>
              <a:rPr lang="fr-BE" sz="1600" dirty="0" err="1" smtClean="0">
                <a:latin typeface="Georgia" panose="02040502050405020303" pitchFamily="18" charset="0"/>
              </a:rPr>
              <a:t>Interoperability</a:t>
            </a:r>
            <a:r>
              <a:rPr lang="fr-BE" sz="1600" dirty="0" smtClean="0">
                <a:latin typeface="Georgia" panose="02040502050405020303" pitchFamily="18" charset="0"/>
              </a:rPr>
              <a:t> and </a:t>
            </a:r>
            <a:r>
              <a:rPr lang="fr-BE" sz="1600" dirty="0" err="1" smtClean="0">
                <a:latin typeface="Georgia" panose="02040502050405020303" pitchFamily="18" charset="0"/>
              </a:rPr>
              <a:t>integration</a:t>
            </a:r>
            <a:endParaRPr lang="fr-BE" sz="1600" b="0" dirty="0" smtClean="0">
              <a:latin typeface="Georgia" panose="02040502050405020303" pitchFamily="18" charset="0"/>
            </a:endParaRPr>
          </a:p>
          <a:p>
            <a:pPr lvl="1">
              <a:buClrTx/>
            </a:pPr>
            <a:r>
              <a:rPr lang="fr-BE" sz="1600" dirty="0" smtClean="0">
                <a:latin typeface="Georgia" panose="02040502050405020303" pitchFamily="18" charset="0"/>
              </a:rPr>
              <a:t>Digital transformation</a:t>
            </a:r>
            <a:r>
              <a:rPr lang="fr-BE" sz="1600" b="0" dirty="0" smtClean="0">
                <a:latin typeface="Georgia" panose="02040502050405020303" pitchFamily="18" charset="0"/>
              </a:rPr>
              <a:t>: </a:t>
            </a:r>
            <a:r>
              <a:rPr lang="fr-BE" sz="1600" b="0" dirty="0" err="1" smtClean="0">
                <a:latin typeface="Georgia" panose="02040502050405020303" pitchFamily="18" charset="0"/>
              </a:rPr>
              <a:t>incl</a:t>
            </a:r>
            <a:r>
              <a:rPr lang="fr-BE" sz="1600" b="0" dirty="0" smtClean="0">
                <a:latin typeface="Georgia" panose="02040502050405020303" pitchFamily="18" charset="0"/>
              </a:rPr>
              <a:t> business </a:t>
            </a:r>
            <a:r>
              <a:rPr lang="fr-BE" sz="1600" b="0" dirty="0" err="1" smtClean="0">
                <a:latin typeface="Georgia" panose="02040502050405020303" pitchFamily="18" charset="0"/>
              </a:rPr>
              <a:t>processes</a:t>
            </a:r>
            <a:r>
              <a:rPr lang="fr-BE" sz="1600" b="0" dirty="0" smtClean="0">
                <a:latin typeface="Georgia" panose="02040502050405020303" pitchFamily="18" charset="0"/>
              </a:rPr>
              <a:t> simplification/harmonisation</a:t>
            </a:r>
            <a:r>
              <a:rPr lang="fr-BE" sz="1600" b="0" dirty="0">
                <a:latin typeface="Georgia" panose="02040502050405020303" pitchFamily="18" charset="0"/>
              </a:rPr>
              <a:t>, </a:t>
            </a:r>
            <a:endParaRPr lang="fr-BE" sz="1600" b="0" dirty="0" smtClean="0">
              <a:latin typeface="Georgia" panose="02040502050405020303" pitchFamily="18" charset="0"/>
            </a:endParaRPr>
          </a:p>
          <a:p>
            <a:pPr lvl="1">
              <a:buClrTx/>
            </a:pPr>
            <a:r>
              <a:rPr lang="fr-BE" sz="1600" b="0" dirty="0" smtClean="0">
                <a:latin typeface="Georgia" panose="02040502050405020303" pitchFamily="18" charset="0"/>
              </a:rPr>
              <a:t>Foster </a:t>
            </a:r>
            <a:r>
              <a:rPr lang="fr-BE" sz="1600" dirty="0" smtClean="0">
                <a:latin typeface="Georgia" panose="02040502050405020303" pitchFamily="18" charset="0"/>
              </a:rPr>
              <a:t>collaboration</a:t>
            </a:r>
            <a:r>
              <a:rPr lang="fr-BE" sz="1600" b="0" dirty="0" smtClean="0">
                <a:latin typeface="Georgia" panose="02040502050405020303" pitchFamily="18" charset="0"/>
              </a:rPr>
              <a:t>: </a:t>
            </a:r>
            <a:r>
              <a:rPr lang="fr-BE" sz="1600" b="0" dirty="0" err="1" smtClean="0">
                <a:latin typeface="Georgia" panose="02040502050405020303" pitchFamily="18" charset="0"/>
              </a:rPr>
              <a:t>internal</a:t>
            </a:r>
            <a:r>
              <a:rPr lang="fr-BE" sz="1600" b="0" dirty="0" smtClean="0">
                <a:latin typeface="Georgia" panose="02040502050405020303" pitchFamily="18" charset="0"/>
              </a:rPr>
              <a:t> and </a:t>
            </a:r>
            <a:r>
              <a:rPr lang="fr-BE" sz="1600" b="0" dirty="0" err="1" smtClean="0">
                <a:latin typeface="Georgia" panose="02040502050405020303" pitchFamily="18" charset="0"/>
              </a:rPr>
              <a:t>external</a:t>
            </a:r>
            <a:endParaRPr lang="fr-BE" sz="1600" b="0" dirty="0" smtClean="0">
              <a:latin typeface="Georgia" panose="02040502050405020303" pitchFamily="18" charset="0"/>
            </a:endParaRPr>
          </a:p>
          <a:p>
            <a:pPr lvl="1">
              <a:buClrTx/>
            </a:pPr>
            <a:r>
              <a:rPr lang="fr-BE" sz="1600" b="0" dirty="0" err="1">
                <a:latin typeface="Georgia" panose="02040502050405020303" pitchFamily="18" charset="0"/>
              </a:rPr>
              <a:t>Better</a:t>
            </a:r>
            <a:r>
              <a:rPr lang="fr-BE" sz="1600" b="0" dirty="0">
                <a:latin typeface="Georgia" panose="02040502050405020303" pitchFamily="18" charset="0"/>
              </a:rPr>
              <a:t> control on </a:t>
            </a:r>
            <a:r>
              <a:rPr lang="fr-BE" sz="1600" b="0" dirty="0" err="1">
                <a:latin typeface="Georgia" panose="02040502050405020303" pitchFamily="18" charset="0"/>
              </a:rPr>
              <a:t>costs</a:t>
            </a:r>
            <a:r>
              <a:rPr lang="fr-BE" sz="1600" b="0" dirty="0">
                <a:latin typeface="Georgia" panose="02040502050405020303" pitchFamily="18" charset="0"/>
              </a:rPr>
              <a:t>: </a:t>
            </a:r>
            <a:r>
              <a:rPr lang="fr-BE" sz="1600" dirty="0" err="1">
                <a:latin typeface="Georgia" panose="02040502050405020303" pitchFamily="18" charset="0"/>
              </a:rPr>
              <a:t>adaptability</a:t>
            </a:r>
            <a:r>
              <a:rPr lang="fr-BE" sz="1600" b="0" dirty="0">
                <a:latin typeface="Georgia" panose="02040502050405020303" pitchFamily="18" charset="0"/>
              </a:rPr>
              <a:t>, </a:t>
            </a:r>
            <a:r>
              <a:rPr lang="fr-BE" sz="1600" dirty="0">
                <a:latin typeface="Georgia" panose="02040502050405020303" pitchFamily="18" charset="0"/>
              </a:rPr>
              <a:t>IT rationalisation</a:t>
            </a:r>
            <a:r>
              <a:rPr lang="fr-BE" sz="1600" b="0" dirty="0">
                <a:latin typeface="Georgia" panose="02040502050405020303" pitchFamily="18" charset="0"/>
              </a:rPr>
              <a:t> /</a:t>
            </a:r>
            <a:r>
              <a:rPr lang="fr-BE" sz="1600" b="0" dirty="0" err="1">
                <a:latin typeface="Georgia" panose="02040502050405020303" pitchFamily="18" charset="0"/>
              </a:rPr>
              <a:t>re-use</a:t>
            </a:r>
            <a:r>
              <a:rPr lang="fr-BE" sz="1600" b="0" dirty="0">
                <a:latin typeface="Georgia" panose="02040502050405020303" pitchFamily="18" charset="0"/>
              </a:rPr>
              <a:t> </a:t>
            </a:r>
            <a:r>
              <a:rPr lang="fr-BE" sz="1600" b="0" dirty="0" err="1">
                <a:latin typeface="Georgia" panose="02040502050405020303" pitchFamily="18" charset="0"/>
              </a:rPr>
              <a:t>incl</a:t>
            </a:r>
            <a:r>
              <a:rPr lang="fr-BE" sz="1600" b="0" dirty="0">
                <a:latin typeface="Georgia" panose="02040502050405020303" pitchFamily="18" charset="0"/>
              </a:rPr>
              <a:t> </a:t>
            </a:r>
            <a:r>
              <a:rPr lang="fr-BE" sz="1600" dirty="0">
                <a:latin typeface="Georgia" panose="02040502050405020303" pitchFamily="18" charset="0"/>
              </a:rPr>
              <a:t>CRIS ABAC </a:t>
            </a:r>
            <a:r>
              <a:rPr lang="fr-BE" sz="1600" dirty="0" smtClean="0">
                <a:latin typeface="Georgia" panose="02040502050405020303" pitchFamily="18" charset="0"/>
              </a:rPr>
              <a:t>rationalisation</a:t>
            </a:r>
            <a:endParaRPr lang="fr-BE" sz="1600" b="0" dirty="0">
              <a:latin typeface="Georgia" panose="02040502050405020303" pitchFamily="18" charset="0"/>
            </a:endParaRPr>
          </a:p>
          <a:p>
            <a:pPr>
              <a:buClrTx/>
            </a:pPr>
            <a:r>
              <a:rPr lang="fr-BE" sz="2000" b="1" dirty="0" err="1" smtClean="0">
                <a:latin typeface="Georgia" panose="02040502050405020303" pitchFamily="18" charset="0"/>
              </a:rPr>
              <a:t>Improve</a:t>
            </a:r>
            <a:r>
              <a:rPr lang="fr-BE" sz="2000" b="1" dirty="0" smtClean="0">
                <a:latin typeface="Georgia" panose="02040502050405020303" pitchFamily="18" charset="0"/>
              </a:rPr>
              <a:t> the </a:t>
            </a:r>
            <a:r>
              <a:rPr lang="fr-BE" sz="2000" b="1" dirty="0" err="1" smtClean="0">
                <a:latin typeface="Georgia" panose="02040502050405020303" pitchFamily="18" charset="0"/>
              </a:rPr>
              <a:t>way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we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work</a:t>
            </a:r>
            <a:r>
              <a:rPr lang="fr-BE" sz="2000" b="1" dirty="0" smtClean="0">
                <a:latin typeface="Georgia" panose="02040502050405020303" pitchFamily="18" charset="0"/>
              </a:rPr>
              <a:t>: </a:t>
            </a:r>
            <a:r>
              <a:rPr lang="fr-BE" sz="2000" b="1" dirty="0" err="1" smtClean="0">
                <a:latin typeface="Georgia" panose="02040502050405020303" pitchFamily="18" charset="0"/>
              </a:rPr>
              <a:t>greater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quality</a:t>
            </a:r>
            <a:endParaRPr lang="fr-BE" sz="2000" b="1" dirty="0" smtClean="0">
              <a:latin typeface="Georgia" panose="02040502050405020303" pitchFamily="18" charset="0"/>
            </a:endParaRPr>
          </a:p>
          <a:p>
            <a:pPr lvl="1">
              <a:buClrTx/>
            </a:pPr>
            <a:r>
              <a:rPr lang="fr-BE" sz="1600" dirty="0" smtClean="0">
                <a:latin typeface="Georgia" panose="02040502050405020303" pitchFamily="18" charset="0"/>
              </a:rPr>
              <a:t>Change of </a:t>
            </a:r>
            <a:r>
              <a:rPr lang="fr-BE" sz="1600" dirty="0" err="1" smtClean="0">
                <a:latin typeface="Georgia" panose="02040502050405020303" pitchFamily="18" charset="0"/>
              </a:rPr>
              <a:t>mind</a:t>
            </a:r>
            <a:r>
              <a:rPr lang="fr-BE" sz="1600" dirty="0" smtClean="0">
                <a:latin typeface="Georgia" panose="02040502050405020303" pitchFamily="18" charset="0"/>
              </a:rPr>
              <a:t>-set</a:t>
            </a:r>
            <a:r>
              <a:rPr lang="fr-BE" sz="1600" b="0" dirty="0" smtClean="0">
                <a:latin typeface="Georgia" panose="02040502050405020303" pitchFamily="18" charset="0"/>
              </a:rPr>
              <a:t>: </a:t>
            </a:r>
            <a:r>
              <a:rPr lang="fr-BE" sz="1600" b="0" dirty="0" err="1" smtClean="0">
                <a:latin typeface="Georgia" panose="02040502050405020303" pitchFamily="18" charset="0"/>
              </a:rPr>
              <a:t>from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financial</a:t>
            </a:r>
            <a:r>
              <a:rPr lang="fr-BE" sz="1600" b="0" dirty="0" smtClean="0">
                <a:latin typeface="Georgia" panose="02040502050405020303" pitchFamily="18" charset="0"/>
              </a:rPr>
              <a:t> to </a:t>
            </a:r>
            <a:r>
              <a:rPr lang="fr-BE" sz="1600" b="0" dirty="0" err="1" smtClean="0">
                <a:latin typeface="Georgia" panose="02040502050405020303" pitchFamily="18" charset="0"/>
              </a:rPr>
              <a:t>operational</a:t>
            </a:r>
            <a:endParaRPr lang="fr-BE" sz="1600" b="0" dirty="0" smtClean="0">
              <a:latin typeface="Georgia" panose="02040502050405020303" pitchFamily="18" charset="0"/>
            </a:endParaRPr>
          </a:p>
          <a:p>
            <a:pPr lvl="1">
              <a:buClrTx/>
            </a:pPr>
            <a:r>
              <a:rPr lang="fr-BE" sz="1600" dirty="0" err="1" smtClean="0">
                <a:latin typeface="Georgia" panose="02040502050405020303" pitchFamily="18" charset="0"/>
              </a:rPr>
              <a:t>Knowledge</a:t>
            </a:r>
            <a:r>
              <a:rPr lang="fr-BE" sz="1600" dirty="0" smtClean="0">
                <a:latin typeface="Georgia" panose="02040502050405020303" pitchFamily="18" charset="0"/>
              </a:rPr>
              <a:t> management</a:t>
            </a:r>
            <a:endParaRPr lang="fr-BE" sz="1600" b="0" dirty="0" smtClean="0">
              <a:latin typeface="Georgia" panose="02040502050405020303" pitchFamily="18" charset="0"/>
            </a:endParaRPr>
          </a:p>
          <a:p>
            <a:pPr>
              <a:buClrTx/>
            </a:pPr>
            <a:r>
              <a:rPr lang="fr-BE" sz="2000" b="1" dirty="0" err="1" smtClean="0">
                <a:latin typeface="Georgia" panose="02040502050405020303" pitchFamily="18" charset="0"/>
              </a:rPr>
              <a:t>Improve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our</a:t>
            </a:r>
            <a:r>
              <a:rPr lang="fr-BE" sz="2000" b="1" dirty="0" smtClean="0">
                <a:latin typeface="Georgia" panose="02040502050405020303" pitchFamily="18" charset="0"/>
              </a:rPr>
              <a:t> image</a:t>
            </a:r>
          </a:p>
          <a:p>
            <a:pPr marL="800100" lvl="2" indent="-400050">
              <a:buFont typeface="Arial" panose="020B0604020202020204" pitchFamily="34" charset="0"/>
              <a:buChar char="•"/>
            </a:pPr>
            <a:r>
              <a:rPr lang="fr-BE" sz="1600" b="0" dirty="0">
                <a:latin typeface="Georgia" panose="02040502050405020303" pitchFamily="18" charset="0"/>
              </a:rPr>
              <a:t>Foster </a:t>
            </a:r>
            <a:r>
              <a:rPr lang="fr-BE" sz="1600" dirty="0" err="1">
                <a:latin typeface="Georgia" panose="02040502050405020303" pitchFamily="18" charset="0"/>
              </a:rPr>
              <a:t>transparency</a:t>
            </a:r>
            <a:r>
              <a:rPr lang="fr-BE" sz="1600" b="0" dirty="0">
                <a:latin typeface="Georgia" panose="02040502050405020303" pitchFamily="18" charset="0"/>
              </a:rPr>
              <a:t> </a:t>
            </a:r>
            <a:r>
              <a:rPr lang="fr-BE" sz="1600" b="0" dirty="0" err="1">
                <a:latin typeface="Georgia" panose="02040502050405020303" pitchFamily="18" charset="0"/>
              </a:rPr>
              <a:t>through</a:t>
            </a:r>
            <a:r>
              <a:rPr lang="fr-BE" sz="1600" b="0" dirty="0">
                <a:latin typeface="Georgia" panose="02040502050405020303" pitchFamily="18" charset="0"/>
              </a:rPr>
              <a:t> efficient </a:t>
            </a:r>
            <a:r>
              <a:rPr lang="fr-BE" sz="1600" b="0" dirty="0" err="1">
                <a:latin typeface="Georgia" panose="02040502050405020303" pitchFamily="18" charset="0"/>
              </a:rPr>
              <a:t>results</a:t>
            </a:r>
            <a:r>
              <a:rPr lang="fr-BE" sz="1600" b="0" dirty="0">
                <a:latin typeface="Georgia" panose="02040502050405020303" pitchFamily="18" charset="0"/>
              </a:rPr>
              <a:t> management</a:t>
            </a:r>
          </a:p>
          <a:p>
            <a:pPr marL="0" indent="0">
              <a:buClrTx/>
              <a:buNone/>
            </a:pPr>
            <a:endParaRPr lang="fr-BE" sz="2000" b="0" dirty="0" smtClean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6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4288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>
          <a:xfrm>
            <a:off x="467544" y="1124669"/>
            <a:ext cx="8229600" cy="792163"/>
          </a:xfrm>
        </p:spPr>
        <p:txBody>
          <a:bodyPr/>
          <a:lstStyle/>
          <a:p>
            <a:pPr marL="0" indent="0">
              <a:spcAft>
                <a:spcPts val="300"/>
              </a:spcAft>
            </a:pPr>
            <a:r>
              <a:rPr lang="fr-BE" altLang="fr-FR" sz="3200" dirty="0" err="1" smtClean="0"/>
              <a:t>OpSys</a:t>
            </a:r>
            <a:r>
              <a:rPr lang="fr-BE" altLang="fr-FR" sz="3200" dirty="0" smtClean="0"/>
              <a:t> Objectives</a:t>
            </a:r>
          </a:p>
        </p:txBody>
      </p:sp>
      <p:sp>
        <p:nvSpPr>
          <p:cNvPr id="20484" name="Content Placeholder 1"/>
          <p:cNvSpPr>
            <a:spLocks noGrp="1"/>
          </p:cNvSpPr>
          <p:nvPr>
            <p:ph idx="1"/>
          </p:nvPr>
        </p:nvSpPr>
        <p:spPr>
          <a:xfrm>
            <a:off x="107504" y="1844824"/>
            <a:ext cx="8928992" cy="4392488"/>
          </a:xfrm>
        </p:spPr>
        <p:txBody>
          <a:bodyPr/>
          <a:lstStyle/>
          <a:p>
            <a:pPr>
              <a:buClrTx/>
            </a:pPr>
            <a:r>
              <a:rPr lang="fr-BE" sz="2000" dirty="0" err="1" smtClean="0">
                <a:latin typeface="Georgia" panose="02040502050405020303" pitchFamily="18" charset="0"/>
              </a:rPr>
              <a:t>Overarching</a:t>
            </a:r>
            <a:r>
              <a:rPr lang="fr-BE" sz="2000" dirty="0" smtClean="0">
                <a:latin typeface="Georgia" panose="02040502050405020303" pitchFamily="18" charset="0"/>
              </a:rPr>
              <a:t>: </a:t>
            </a:r>
            <a:r>
              <a:rPr lang="fr-BE" sz="2000" b="1" dirty="0" err="1" smtClean="0">
                <a:latin typeface="Georgia" panose="02040502050405020303" pitchFamily="18" charset="0"/>
              </a:rPr>
              <a:t>contribute</a:t>
            </a:r>
            <a:r>
              <a:rPr lang="fr-BE" sz="2000" b="1" dirty="0" smtClean="0">
                <a:latin typeface="Georgia" panose="02040502050405020303" pitchFamily="18" charset="0"/>
              </a:rPr>
              <a:t> to </a:t>
            </a:r>
            <a:r>
              <a:rPr lang="fr-BE" sz="2000" b="1" dirty="0" err="1" smtClean="0">
                <a:latin typeface="Georgia" panose="02040502050405020303" pitchFamily="18" charset="0"/>
              </a:rPr>
              <a:t>improving</a:t>
            </a:r>
            <a:r>
              <a:rPr lang="fr-BE" sz="2000" b="1" dirty="0" smtClean="0">
                <a:latin typeface="Georgia" panose="02040502050405020303" pitchFamily="18" charset="0"/>
              </a:rPr>
              <a:t> the impact of </a:t>
            </a:r>
            <a:r>
              <a:rPr lang="fr-BE" sz="2000" b="1" dirty="0" err="1" smtClean="0">
                <a:latin typeface="Georgia" panose="02040502050405020303" pitchFamily="18" charset="0"/>
              </a:rPr>
              <a:t>external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aid</a:t>
            </a:r>
            <a:endParaRPr lang="fr-BE" sz="2000" b="1" dirty="0" smtClean="0">
              <a:latin typeface="Georgia" panose="02040502050405020303" pitchFamily="18" charset="0"/>
            </a:endParaRPr>
          </a:p>
          <a:p>
            <a:pPr>
              <a:buClrTx/>
            </a:pPr>
            <a:r>
              <a:rPr lang="fr-BE" sz="2000" b="1" dirty="0" err="1" smtClean="0">
                <a:latin typeface="Georgia" panose="02040502050405020303" pitchFamily="18" charset="0"/>
              </a:rPr>
              <a:t>Improve</a:t>
            </a:r>
            <a:r>
              <a:rPr lang="fr-BE" sz="2000" b="1" dirty="0" smtClean="0">
                <a:latin typeface="Georgia" panose="02040502050405020303" pitchFamily="18" charset="0"/>
              </a:rPr>
              <a:t> the </a:t>
            </a:r>
            <a:r>
              <a:rPr lang="fr-BE" sz="2000" b="1" dirty="0" err="1" smtClean="0">
                <a:latin typeface="Georgia" panose="02040502050405020303" pitchFamily="18" charset="0"/>
              </a:rPr>
              <a:t>way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we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work</a:t>
            </a:r>
            <a:r>
              <a:rPr lang="fr-BE" sz="2000" b="1" dirty="0">
                <a:latin typeface="Georgia" panose="02040502050405020303" pitchFamily="18" charset="0"/>
              </a:rPr>
              <a:t>: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greater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efficiency</a:t>
            </a:r>
            <a:endParaRPr lang="fr-BE" sz="2000" b="1" dirty="0" smtClean="0">
              <a:latin typeface="Georgia" panose="02040502050405020303" pitchFamily="18" charset="0"/>
            </a:endParaRPr>
          </a:p>
          <a:p>
            <a:pPr lvl="1">
              <a:buClrTx/>
            </a:pPr>
            <a:r>
              <a:rPr lang="fr-BE" sz="1600" dirty="0" err="1" smtClean="0">
                <a:latin typeface="Georgia" panose="02040502050405020303" pitchFamily="18" charset="0"/>
              </a:rPr>
              <a:t>Interoperability</a:t>
            </a:r>
            <a:r>
              <a:rPr lang="fr-BE" sz="1600" b="0" dirty="0" smtClean="0">
                <a:latin typeface="Georgia" panose="02040502050405020303" pitchFamily="18" charset="0"/>
              </a:rPr>
              <a:t>, End-to-end </a:t>
            </a:r>
            <a:r>
              <a:rPr lang="fr-BE" sz="1600" dirty="0" err="1" smtClean="0">
                <a:latin typeface="Georgia" panose="02040502050405020303" pitchFamily="18" charset="0"/>
              </a:rPr>
              <a:t>integration</a:t>
            </a:r>
            <a:r>
              <a:rPr lang="fr-BE" sz="1600" dirty="0" smtClean="0">
                <a:latin typeface="Georgia" panose="02040502050405020303" pitchFamily="18" charset="0"/>
              </a:rPr>
              <a:t> </a:t>
            </a:r>
            <a:r>
              <a:rPr lang="fr-BE" sz="1600" b="0" dirty="0" smtClean="0">
                <a:latin typeface="Georgia" panose="02040502050405020303" pitchFamily="18" charset="0"/>
              </a:rPr>
              <a:t>for PCM cycle, </a:t>
            </a:r>
            <a:r>
              <a:rPr lang="fr-BE" sz="1600" b="0" dirty="0" err="1" smtClean="0">
                <a:latin typeface="Georgia" panose="02040502050405020303" pitchFamily="18" charset="0"/>
              </a:rPr>
              <a:t>project</a:t>
            </a:r>
            <a:r>
              <a:rPr lang="fr-BE" sz="1600" b="0" dirty="0" smtClean="0">
                <a:latin typeface="Georgia" panose="02040502050405020303" pitchFamily="18" charset="0"/>
              </a:rPr>
              <a:t> management</a:t>
            </a:r>
          </a:p>
          <a:p>
            <a:pPr lvl="1">
              <a:buClrTx/>
            </a:pPr>
            <a:r>
              <a:rPr lang="fr-BE" sz="1600" dirty="0" smtClean="0">
                <a:latin typeface="Georgia" panose="02040502050405020303" pitchFamily="18" charset="0"/>
              </a:rPr>
              <a:t>Digital transformation</a:t>
            </a:r>
            <a:r>
              <a:rPr lang="fr-BE" sz="1600" b="0" dirty="0" smtClean="0">
                <a:latin typeface="Georgia" panose="02040502050405020303" pitchFamily="18" charset="0"/>
              </a:rPr>
              <a:t>: e-</a:t>
            </a:r>
            <a:r>
              <a:rPr lang="fr-BE" sz="1600" b="0" dirty="0" err="1" smtClean="0">
                <a:latin typeface="Georgia" panose="02040502050405020303" pitchFamily="18" charset="0"/>
              </a:rPr>
              <a:t>work</a:t>
            </a:r>
            <a:r>
              <a:rPr lang="fr-BE" sz="1600" b="0" dirty="0" smtClean="0">
                <a:latin typeface="Georgia" panose="02040502050405020303" pitchFamily="18" charset="0"/>
              </a:rPr>
              <a:t>, </a:t>
            </a:r>
            <a:r>
              <a:rPr lang="fr-BE" sz="1600" b="0" dirty="0" err="1" smtClean="0">
                <a:latin typeface="Georgia" panose="02040502050405020303" pitchFamily="18" charset="0"/>
              </a:rPr>
              <a:t>mobility</a:t>
            </a:r>
            <a:r>
              <a:rPr lang="fr-BE" sz="1600" b="0" dirty="0" smtClean="0">
                <a:latin typeface="Georgia" panose="02040502050405020303" pitchFamily="18" charset="0"/>
              </a:rPr>
              <a:t>, </a:t>
            </a:r>
            <a:r>
              <a:rPr lang="fr-BE" sz="1600" dirty="0" smtClean="0">
                <a:latin typeface="Georgia" panose="02040502050405020303" pitchFamily="18" charset="0"/>
              </a:rPr>
              <a:t>rationalise </a:t>
            </a:r>
            <a:r>
              <a:rPr lang="fr-BE" sz="1600" dirty="0">
                <a:latin typeface="Georgia" panose="02040502050405020303" pitchFamily="18" charset="0"/>
              </a:rPr>
              <a:t>business </a:t>
            </a:r>
            <a:r>
              <a:rPr lang="fr-BE" sz="1600" dirty="0" err="1" smtClean="0">
                <a:latin typeface="Georgia" panose="02040502050405020303" pitchFamily="18" charset="0"/>
              </a:rPr>
              <a:t>processes</a:t>
            </a:r>
            <a:r>
              <a:rPr lang="fr-BE" sz="1600" dirty="0" smtClean="0">
                <a:latin typeface="Georgia" panose="02040502050405020303" pitchFamily="18" charset="0"/>
              </a:rPr>
              <a:t> </a:t>
            </a:r>
            <a:r>
              <a:rPr lang="fr-BE" sz="1600" b="0" dirty="0" smtClean="0">
                <a:latin typeface="Georgia" panose="02040502050405020303" pitchFamily="18" charset="0"/>
              </a:rPr>
              <a:t>by </a:t>
            </a:r>
            <a:r>
              <a:rPr lang="fr-BE" sz="1600" b="0" dirty="0">
                <a:latin typeface="Georgia" panose="02040502050405020303" pitchFamily="18" charset="0"/>
              </a:rPr>
              <a:t>simplification and harmonisation, </a:t>
            </a:r>
            <a:r>
              <a:rPr lang="fr-BE" sz="1600" b="0" dirty="0" smtClean="0">
                <a:latin typeface="Georgia" panose="02040502050405020303" pitchFamily="18" charset="0"/>
              </a:rPr>
              <a:t>automation, </a:t>
            </a:r>
            <a:r>
              <a:rPr lang="fr-BE" sz="1600" b="0" dirty="0" err="1" smtClean="0">
                <a:latin typeface="Georgia" panose="02040502050405020303" pitchFamily="18" charset="0"/>
              </a:rPr>
              <a:t>easy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access</a:t>
            </a:r>
            <a:r>
              <a:rPr lang="fr-BE" sz="1600" b="0" dirty="0" smtClean="0">
                <a:latin typeface="Georgia" panose="02040502050405020303" pitchFamily="18" charset="0"/>
              </a:rPr>
              <a:t> to documents/information</a:t>
            </a:r>
          </a:p>
          <a:p>
            <a:pPr lvl="1">
              <a:buClrTx/>
            </a:pPr>
            <a:r>
              <a:rPr lang="fr-BE" sz="1600" b="0" dirty="0" smtClean="0">
                <a:latin typeface="Georgia" panose="02040502050405020303" pitchFamily="18" charset="0"/>
              </a:rPr>
              <a:t>Foster </a:t>
            </a:r>
            <a:r>
              <a:rPr lang="fr-BE" sz="1600" dirty="0" smtClean="0">
                <a:latin typeface="Georgia" panose="02040502050405020303" pitchFamily="18" charset="0"/>
              </a:rPr>
              <a:t>collaboration</a:t>
            </a:r>
            <a:r>
              <a:rPr lang="fr-BE" sz="1600" b="0" dirty="0" smtClean="0">
                <a:latin typeface="Georgia" panose="02040502050405020303" pitchFamily="18" charset="0"/>
              </a:rPr>
              <a:t>: </a:t>
            </a:r>
            <a:r>
              <a:rPr lang="fr-BE" sz="1600" b="0" dirty="0" err="1" smtClean="0">
                <a:latin typeface="Georgia" panose="02040502050405020303" pitchFamily="18" charset="0"/>
              </a:rPr>
              <a:t>internal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within</a:t>
            </a:r>
            <a:r>
              <a:rPr lang="fr-BE" sz="1600" b="0" dirty="0" smtClean="0">
                <a:latin typeface="Georgia" panose="02040502050405020303" pitchFamily="18" charset="0"/>
              </a:rPr>
              <a:t> DEVCO/NEAR/FPI and </a:t>
            </a:r>
            <a:r>
              <a:rPr lang="fr-BE" sz="1600" b="0" dirty="0" err="1" smtClean="0">
                <a:latin typeface="Georgia" panose="02040502050405020303" pitchFamily="18" charset="0"/>
              </a:rPr>
              <a:t>external</a:t>
            </a:r>
            <a:r>
              <a:rPr lang="fr-BE" sz="1600" b="0" dirty="0" smtClean="0">
                <a:latin typeface="Georgia" panose="02040502050405020303" pitchFamily="18" charset="0"/>
              </a:rPr>
              <a:t> (</a:t>
            </a:r>
            <a:r>
              <a:rPr lang="fr-BE" sz="1600" b="0" dirty="0" err="1" smtClean="0">
                <a:latin typeface="Georgia" panose="02040502050405020303" pitchFamily="18" charset="0"/>
              </a:rPr>
              <a:t>implementing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partners</a:t>
            </a:r>
            <a:r>
              <a:rPr lang="fr-BE" sz="1600" b="0" dirty="0" smtClean="0">
                <a:latin typeface="Georgia" panose="02040502050405020303" pitchFamily="18" charset="0"/>
              </a:rPr>
              <a:t>, EU MS); </a:t>
            </a:r>
            <a:r>
              <a:rPr lang="fr-BE" sz="1600" b="0" dirty="0" err="1" smtClean="0">
                <a:latin typeface="Georgia" panose="02040502050405020303" pitchFamily="18" charset="0"/>
              </a:rPr>
              <a:t>work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simultaneously</a:t>
            </a:r>
            <a:r>
              <a:rPr lang="fr-BE" sz="1600" b="0" dirty="0" smtClean="0">
                <a:latin typeface="Georgia" panose="02040502050405020303" pitchFamily="18" charset="0"/>
              </a:rPr>
              <a:t> and inputs </a:t>
            </a:r>
            <a:r>
              <a:rPr lang="fr-BE" sz="1600" b="0" dirty="0" err="1" smtClean="0">
                <a:latin typeface="Georgia" panose="02040502050405020303" pitchFamily="18" charset="0"/>
              </a:rPr>
              <a:t>from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implementing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partners</a:t>
            </a:r>
            <a:endParaRPr lang="fr-BE" sz="1600" b="0" dirty="0">
              <a:latin typeface="Georgia" panose="02040502050405020303" pitchFamily="18" charset="0"/>
            </a:endParaRPr>
          </a:p>
          <a:p>
            <a:pPr>
              <a:buClrTx/>
            </a:pPr>
            <a:r>
              <a:rPr lang="fr-BE" sz="2000" b="1" dirty="0" err="1" smtClean="0">
                <a:latin typeface="Georgia" panose="02040502050405020303" pitchFamily="18" charset="0"/>
              </a:rPr>
              <a:t>Improve</a:t>
            </a:r>
            <a:r>
              <a:rPr lang="fr-BE" sz="2000" b="1" dirty="0" smtClean="0">
                <a:latin typeface="Georgia" panose="02040502050405020303" pitchFamily="18" charset="0"/>
              </a:rPr>
              <a:t> the </a:t>
            </a:r>
            <a:r>
              <a:rPr lang="fr-BE" sz="2000" b="1" dirty="0" err="1" smtClean="0">
                <a:latin typeface="Georgia" panose="02040502050405020303" pitchFamily="18" charset="0"/>
              </a:rPr>
              <a:t>way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we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work</a:t>
            </a:r>
            <a:r>
              <a:rPr lang="fr-BE" sz="2000" b="1" dirty="0" smtClean="0">
                <a:latin typeface="Georgia" panose="02040502050405020303" pitchFamily="18" charset="0"/>
              </a:rPr>
              <a:t>: </a:t>
            </a:r>
            <a:r>
              <a:rPr lang="fr-BE" sz="2000" b="1" dirty="0" err="1" smtClean="0">
                <a:latin typeface="Georgia" panose="02040502050405020303" pitchFamily="18" charset="0"/>
              </a:rPr>
              <a:t>greater</a:t>
            </a:r>
            <a:r>
              <a:rPr lang="fr-BE" sz="2000" b="1" dirty="0" smtClean="0">
                <a:latin typeface="Georgia" panose="02040502050405020303" pitchFamily="18" charset="0"/>
              </a:rPr>
              <a:t> </a:t>
            </a:r>
            <a:r>
              <a:rPr lang="fr-BE" sz="2000" b="1" dirty="0" err="1" smtClean="0">
                <a:latin typeface="Georgia" panose="02040502050405020303" pitchFamily="18" charset="0"/>
              </a:rPr>
              <a:t>quality</a:t>
            </a:r>
            <a:endParaRPr lang="fr-BE" sz="2000" b="1" dirty="0" smtClean="0">
              <a:latin typeface="Georgia" panose="02040502050405020303" pitchFamily="18" charset="0"/>
            </a:endParaRPr>
          </a:p>
          <a:p>
            <a:pPr lvl="1">
              <a:buClrTx/>
            </a:pPr>
            <a:r>
              <a:rPr lang="fr-BE" sz="1600" dirty="0" smtClean="0">
                <a:latin typeface="Georgia" panose="02040502050405020303" pitchFamily="18" charset="0"/>
              </a:rPr>
              <a:t>Change of </a:t>
            </a:r>
            <a:r>
              <a:rPr lang="fr-BE" sz="1600" dirty="0" err="1" smtClean="0">
                <a:latin typeface="Georgia" panose="02040502050405020303" pitchFamily="18" charset="0"/>
              </a:rPr>
              <a:t>mind</a:t>
            </a:r>
            <a:r>
              <a:rPr lang="fr-BE" sz="1600" dirty="0" smtClean="0">
                <a:latin typeface="Georgia" panose="02040502050405020303" pitchFamily="18" charset="0"/>
              </a:rPr>
              <a:t>-set</a:t>
            </a:r>
            <a:r>
              <a:rPr lang="fr-BE" sz="1600" b="0" dirty="0" smtClean="0">
                <a:latin typeface="Georgia" panose="02040502050405020303" pitchFamily="18" charset="0"/>
              </a:rPr>
              <a:t>: </a:t>
            </a:r>
            <a:r>
              <a:rPr lang="fr-BE" sz="1600" b="0" dirty="0" err="1" smtClean="0">
                <a:latin typeface="Georgia" panose="02040502050405020303" pitchFamily="18" charset="0"/>
              </a:rPr>
              <a:t>from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financial</a:t>
            </a:r>
            <a:r>
              <a:rPr lang="fr-BE" sz="1600" b="0" dirty="0" smtClean="0">
                <a:latin typeface="Georgia" panose="02040502050405020303" pitchFamily="18" charset="0"/>
              </a:rPr>
              <a:t> to </a:t>
            </a:r>
            <a:r>
              <a:rPr lang="fr-BE" sz="1600" b="0" dirty="0" err="1" smtClean="0">
                <a:latin typeface="Georgia" panose="02040502050405020303" pitchFamily="18" charset="0"/>
              </a:rPr>
              <a:t>operational</a:t>
            </a:r>
            <a:endParaRPr lang="fr-BE" sz="1600" b="0" dirty="0" smtClean="0">
              <a:latin typeface="Georgia" panose="02040502050405020303" pitchFamily="18" charset="0"/>
            </a:endParaRPr>
          </a:p>
          <a:p>
            <a:pPr lvl="1">
              <a:buClrTx/>
            </a:pPr>
            <a:r>
              <a:rPr lang="fr-BE" sz="1600" dirty="0" err="1" smtClean="0">
                <a:latin typeface="Georgia" panose="02040502050405020303" pitchFamily="18" charset="0"/>
              </a:rPr>
              <a:t>Knowledge</a:t>
            </a:r>
            <a:r>
              <a:rPr lang="fr-BE" sz="1600" dirty="0" smtClean="0">
                <a:latin typeface="Georgia" panose="02040502050405020303" pitchFamily="18" charset="0"/>
              </a:rPr>
              <a:t> management</a:t>
            </a:r>
            <a:r>
              <a:rPr lang="fr-BE" sz="1600" b="0" dirty="0" smtClean="0">
                <a:latin typeface="Georgia" panose="02040502050405020303" pitchFamily="18" charset="0"/>
              </a:rPr>
              <a:t>: </a:t>
            </a:r>
            <a:r>
              <a:rPr lang="fr-BE" sz="1600" b="0" dirty="0" err="1" smtClean="0">
                <a:latin typeface="Georgia" panose="02040502050405020303" pitchFamily="18" charset="0"/>
              </a:rPr>
              <a:t>virtuous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circle</a:t>
            </a:r>
            <a:r>
              <a:rPr lang="fr-BE" sz="1600" b="0" dirty="0" smtClean="0">
                <a:latin typeface="Georgia" panose="02040502050405020303" pitchFamily="18" charset="0"/>
              </a:rPr>
              <a:t>, </a:t>
            </a:r>
            <a:r>
              <a:rPr lang="fr-BE" sz="1600" b="0" dirty="0" err="1" smtClean="0">
                <a:latin typeface="Georgia" panose="02040502050405020303" pitchFamily="18" charset="0"/>
              </a:rPr>
              <a:t>availability</a:t>
            </a:r>
            <a:r>
              <a:rPr lang="fr-BE" sz="1600" b="0" dirty="0" smtClean="0">
                <a:latin typeface="Georgia" panose="02040502050405020303" pitchFamily="18" charset="0"/>
              </a:rPr>
              <a:t> of good practices, </a:t>
            </a:r>
            <a:r>
              <a:rPr lang="fr-BE" sz="1600" b="0" dirty="0" err="1" smtClean="0">
                <a:latin typeface="Georgia" panose="02040502050405020303" pitchFamily="18" charset="0"/>
              </a:rPr>
              <a:t>lessons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learnt</a:t>
            </a:r>
            <a:endParaRPr lang="fr-BE" sz="1600" b="0" dirty="0" smtClean="0">
              <a:latin typeface="Georgia" panose="02040502050405020303" pitchFamily="18" charset="0"/>
            </a:endParaRPr>
          </a:p>
          <a:p>
            <a:pPr lvl="1">
              <a:buClrTx/>
            </a:pPr>
            <a:r>
              <a:rPr lang="fr-BE" sz="1600" b="0" dirty="0">
                <a:latin typeface="Georgia" panose="02040502050405020303" pitchFamily="18" charset="0"/>
              </a:rPr>
              <a:t>Foster </a:t>
            </a:r>
            <a:r>
              <a:rPr lang="fr-BE" sz="1600" dirty="0" err="1">
                <a:latin typeface="Georgia" panose="02040502050405020303" pitchFamily="18" charset="0"/>
              </a:rPr>
              <a:t>transparency</a:t>
            </a:r>
            <a:r>
              <a:rPr lang="fr-BE" sz="1600" b="0" dirty="0">
                <a:latin typeface="Georgia" panose="02040502050405020303" pitchFamily="18" charset="0"/>
              </a:rPr>
              <a:t> </a:t>
            </a:r>
            <a:r>
              <a:rPr lang="fr-BE" sz="1600" b="0" dirty="0" err="1">
                <a:latin typeface="Georgia" panose="02040502050405020303" pitchFamily="18" charset="0"/>
              </a:rPr>
              <a:t>through</a:t>
            </a:r>
            <a:r>
              <a:rPr lang="fr-BE" sz="1600" b="0" dirty="0">
                <a:latin typeface="Georgia" panose="02040502050405020303" pitchFamily="18" charset="0"/>
              </a:rPr>
              <a:t> efficient </a:t>
            </a:r>
            <a:r>
              <a:rPr lang="fr-BE" sz="1600" b="0" dirty="0" err="1">
                <a:latin typeface="Georgia" panose="02040502050405020303" pitchFamily="18" charset="0"/>
              </a:rPr>
              <a:t>results</a:t>
            </a:r>
            <a:r>
              <a:rPr lang="fr-BE" sz="1600" b="0" dirty="0">
                <a:latin typeface="Georgia" panose="02040502050405020303" pitchFamily="18" charset="0"/>
              </a:rPr>
              <a:t> and information </a:t>
            </a:r>
            <a:r>
              <a:rPr lang="fr-BE" sz="1600" b="0" dirty="0" smtClean="0">
                <a:latin typeface="Georgia" panose="02040502050405020303" pitchFamily="18" charset="0"/>
              </a:rPr>
              <a:t>management</a:t>
            </a:r>
          </a:p>
          <a:p>
            <a:pPr>
              <a:buClrTx/>
            </a:pPr>
            <a:r>
              <a:rPr lang="fr-BE" sz="2000" b="1" dirty="0" smtClean="0">
                <a:latin typeface="Georgia" panose="02040502050405020303" pitchFamily="18" charset="0"/>
              </a:rPr>
              <a:t>More value for money</a:t>
            </a:r>
            <a:r>
              <a:rPr lang="fr-BE" sz="2000" b="0" dirty="0" smtClean="0">
                <a:latin typeface="Georgia" panose="02040502050405020303" pitchFamily="18" charset="0"/>
              </a:rPr>
              <a:t>:</a:t>
            </a:r>
          </a:p>
          <a:p>
            <a:pPr lvl="1">
              <a:buClrTx/>
            </a:pPr>
            <a:r>
              <a:rPr lang="fr-BE" sz="1600" b="0" dirty="0" err="1" smtClean="0">
                <a:latin typeface="Georgia" panose="02040502050405020303" pitchFamily="18" charset="0"/>
              </a:rPr>
              <a:t>Better</a:t>
            </a:r>
            <a:r>
              <a:rPr lang="fr-BE" sz="1600" b="0" dirty="0" smtClean="0">
                <a:latin typeface="Georgia" panose="02040502050405020303" pitchFamily="18" charset="0"/>
              </a:rPr>
              <a:t> control on maintenance </a:t>
            </a:r>
            <a:r>
              <a:rPr lang="fr-BE" sz="1600" b="0" dirty="0" err="1" smtClean="0">
                <a:latin typeface="Georgia" panose="02040502050405020303" pitchFamily="18" charset="0"/>
              </a:rPr>
              <a:t>costs</a:t>
            </a:r>
            <a:r>
              <a:rPr lang="fr-BE" sz="1600" b="0" dirty="0" smtClean="0">
                <a:latin typeface="Georgia" panose="02040502050405020303" pitchFamily="18" charset="0"/>
              </a:rPr>
              <a:t>: </a:t>
            </a:r>
            <a:r>
              <a:rPr lang="fr-BE" sz="1600" b="0" dirty="0" err="1" smtClean="0">
                <a:latin typeface="Georgia" panose="02040502050405020303" pitchFamily="18" charset="0"/>
              </a:rPr>
              <a:t>appropriate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dirty="0" smtClean="0">
                <a:latin typeface="Georgia" panose="02040502050405020303" pitchFamily="18" charset="0"/>
              </a:rPr>
              <a:t>architecture</a:t>
            </a:r>
            <a:r>
              <a:rPr lang="fr-BE" sz="1600" b="0" dirty="0" smtClean="0">
                <a:latin typeface="Georgia" panose="02040502050405020303" pitchFamily="18" charset="0"/>
              </a:rPr>
              <a:t> (</a:t>
            </a:r>
            <a:r>
              <a:rPr lang="fr-BE" sz="1600" b="0" dirty="0" err="1" smtClean="0">
                <a:latin typeface="Georgia" panose="02040502050405020303" pitchFamily="18" charset="0"/>
              </a:rPr>
              <a:t>adaptability</a:t>
            </a:r>
            <a:r>
              <a:rPr lang="fr-BE" sz="1600" b="0" dirty="0" smtClean="0">
                <a:latin typeface="Georgia" panose="02040502050405020303" pitchFamily="18" charset="0"/>
              </a:rPr>
              <a:t>), </a:t>
            </a:r>
            <a:r>
              <a:rPr lang="fr-BE" sz="1600" dirty="0" smtClean="0">
                <a:latin typeface="Georgia" panose="02040502050405020303" pitchFamily="18" charset="0"/>
              </a:rPr>
              <a:t>IT rationalisation</a:t>
            </a:r>
            <a:r>
              <a:rPr lang="fr-BE" sz="1600" b="0" dirty="0" smtClean="0">
                <a:latin typeface="Georgia" panose="02040502050405020303" pitchFamily="18" charset="0"/>
              </a:rPr>
              <a:t> (</a:t>
            </a:r>
            <a:r>
              <a:rPr lang="fr-BE" sz="1600" b="0" dirty="0" err="1" smtClean="0">
                <a:latin typeface="Georgia" panose="02040502050405020303" pitchFamily="18" charset="0"/>
              </a:rPr>
              <a:t>re-use</a:t>
            </a:r>
            <a:r>
              <a:rPr lang="fr-BE" sz="1600" b="0" dirty="0" smtClean="0">
                <a:latin typeface="Georgia" panose="02040502050405020303" pitchFamily="18" charset="0"/>
              </a:rPr>
              <a:t>, </a:t>
            </a:r>
            <a:r>
              <a:rPr lang="fr-BE" sz="1600" b="0" dirty="0" err="1" smtClean="0">
                <a:latin typeface="Georgia" panose="02040502050405020303" pitchFamily="18" charset="0"/>
              </a:rPr>
              <a:t>covering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external</a:t>
            </a:r>
            <a:r>
              <a:rPr lang="fr-BE" sz="1600" b="0" dirty="0" smtClean="0">
                <a:latin typeface="Georgia" panose="02040502050405020303" pitchFamily="18" charset="0"/>
              </a:rPr>
              <a:t> relations </a:t>
            </a:r>
            <a:r>
              <a:rPr lang="fr-BE" sz="1600" b="0" dirty="0" err="1" smtClean="0">
                <a:latin typeface="Georgia" panose="02040502050405020303" pitchFamily="18" charset="0"/>
              </a:rPr>
              <a:t>family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needs</a:t>
            </a:r>
            <a:r>
              <a:rPr lang="fr-BE" sz="1600" b="0" dirty="0" smtClean="0">
                <a:latin typeface="Georgia" panose="02040502050405020303" pitchFamily="18" charset="0"/>
              </a:rPr>
              <a:t>); </a:t>
            </a:r>
            <a:r>
              <a:rPr lang="fr-BE" sz="1600" b="0" dirty="0" err="1" smtClean="0">
                <a:latin typeface="Georgia" panose="02040502050405020303" pitchFamily="18" charset="0"/>
              </a:rPr>
              <a:t>allow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dirty="0" smtClean="0">
                <a:latin typeface="Georgia" panose="02040502050405020303" pitchFamily="18" charset="0"/>
              </a:rPr>
              <a:t>CRIS ABAC rationalisation</a:t>
            </a:r>
            <a:endParaRPr lang="en-GB" sz="1600" dirty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7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851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>
          <a:xfrm>
            <a:off x="251520" y="1124669"/>
            <a:ext cx="8229600" cy="792163"/>
          </a:xfrm>
        </p:spPr>
        <p:txBody>
          <a:bodyPr/>
          <a:lstStyle/>
          <a:p>
            <a:pPr marL="0" indent="0">
              <a:spcAft>
                <a:spcPts val="300"/>
              </a:spcAft>
            </a:pPr>
            <a:r>
              <a:rPr lang="fr-BE" altLang="fr-FR" sz="3200" dirty="0" err="1" smtClean="0"/>
              <a:t>OpSys</a:t>
            </a:r>
            <a:r>
              <a:rPr lang="fr-BE" altLang="fr-FR" sz="3200" dirty="0" smtClean="0"/>
              <a:t> </a:t>
            </a:r>
            <a:r>
              <a:rPr lang="fr-BE" altLang="fr-FR" sz="3200" dirty="0" err="1"/>
              <a:t>b</a:t>
            </a:r>
            <a:r>
              <a:rPr lang="fr-BE" altLang="fr-FR" sz="3200" dirty="0" err="1" smtClean="0"/>
              <a:t>enefits</a:t>
            </a:r>
            <a:endParaRPr lang="fr-BE" altLang="fr-FR" sz="3200" dirty="0" smtClean="0"/>
          </a:p>
        </p:txBody>
      </p:sp>
      <p:sp>
        <p:nvSpPr>
          <p:cNvPr id="20484" name="Content Placeholder 1"/>
          <p:cNvSpPr>
            <a:spLocks noGrp="1"/>
          </p:cNvSpPr>
          <p:nvPr>
            <p:ph idx="1"/>
          </p:nvPr>
        </p:nvSpPr>
        <p:spPr>
          <a:xfrm>
            <a:off x="76436" y="1988840"/>
            <a:ext cx="8964488" cy="3744416"/>
          </a:xfrm>
        </p:spPr>
        <p:txBody>
          <a:bodyPr/>
          <a:lstStyle/>
          <a:p>
            <a:pPr lvl="0"/>
            <a:r>
              <a:rPr lang="en-GB" b="1" dirty="0">
                <a:latin typeface="Georgia" panose="02040502050405020303" pitchFamily="18" charset="0"/>
              </a:rPr>
              <a:t>Greater efficiency</a:t>
            </a:r>
          </a:p>
          <a:p>
            <a:pPr lvl="1"/>
            <a:r>
              <a:rPr lang="en-GB" b="0" dirty="0">
                <a:latin typeface="Georgia" panose="02040502050405020303" pitchFamily="18" charset="0"/>
              </a:rPr>
              <a:t>Time </a:t>
            </a:r>
            <a:r>
              <a:rPr lang="en-GB" b="0" dirty="0" smtClean="0">
                <a:latin typeface="Georgia" panose="02040502050405020303" pitchFamily="18" charset="0"/>
              </a:rPr>
              <a:t>saved for users and operations (no re-encoding, automation, easy access to documents, increased user-friendliness)</a:t>
            </a:r>
          </a:p>
          <a:p>
            <a:pPr lvl="1"/>
            <a:r>
              <a:rPr lang="fr-BE" b="0" dirty="0" err="1" smtClean="0">
                <a:latin typeface="Georgia" panose="02040502050405020303" pitchFamily="18" charset="0"/>
              </a:rPr>
              <a:t>Increased</a:t>
            </a:r>
            <a:r>
              <a:rPr lang="fr-BE" b="0" dirty="0" smtClean="0">
                <a:latin typeface="Georgia" panose="02040502050405020303" pitchFamily="18" charset="0"/>
              </a:rPr>
              <a:t> trust, </a:t>
            </a:r>
            <a:r>
              <a:rPr lang="fr-BE" b="0" dirty="0" err="1" smtClean="0">
                <a:latin typeface="Georgia" panose="02040502050405020303" pitchFamily="18" charset="0"/>
              </a:rPr>
              <a:t>simplified</a:t>
            </a:r>
            <a:r>
              <a:rPr lang="fr-BE" b="0" dirty="0" smtClean="0">
                <a:latin typeface="Georgia" panose="02040502050405020303" pitchFamily="18" charset="0"/>
              </a:rPr>
              <a:t> </a:t>
            </a:r>
            <a:r>
              <a:rPr lang="fr-BE" b="0" dirty="0" err="1" smtClean="0">
                <a:latin typeface="Georgia" panose="02040502050405020303" pitchFamily="18" charset="0"/>
              </a:rPr>
              <a:t>processes</a:t>
            </a:r>
            <a:r>
              <a:rPr lang="fr-BE" b="0" dirty="0" smtClean="0">
                <a:latin typeface="Georgia" panose="02040502050405020303" pitchFamily="18" charset="0"/>
              </a:rPr>
              <a:t> and visa </a:t>
            </a:r>
            <a:r>
              <a:rPr lang="fr-BE" b="0" dirty="0" err="1" smtClean="0">
                <a:latin typeface="Georgia" panose="02040502050405020303" pitchFamily="18" charset="0"/>
              </a:rPr>
              <a:t>chains</a:t>
            </a:r>
            <a:endParaRPr lang="fr-BE" b="0" dirty="0" smtClean="0">
              <a:latin typeface="Georgia" panose="02040502050405020303" pitchFamily="18" charset="0"/>
            </a:endParaRPr>
          </a:p>
          <a:p>
            <a:pPr lvl="1"/>
            <a:r>
              <a:rPr lang="fr-BE" b="0" dirty="0" err="1" smtClean="0">
                <a:latin typeface="Georgia" panose="02040502050405020303" pitchFamily="18" charset="0"/>
              </a:rPr>
              <a:t>Better</a:t>
            </a:r>
            <a:r>
              <a:rPr lang="fr-BE" b="0" dirty="0" smtClean="0">
                <a:latin typeface="Georgia" panose="02040502050405020303" pitchFamily="18" charset="0"/>
              </a:rPr>
              <a:t> </a:t>
            </a:r>
            <a:r>
              <a:rPr lang="fr-BE" b="0" dirty="0" err="1" smtClean="0">
                <a:latin typeface="Georgia" panose="02040502050405020303" pitchFamily="18" charset="0"/>
              </a:rPr>
              <a:t>quality</a:t>
            </a:r>
            <a:r>
              <a:rPr lang="fr-BE" b="0" dirty="0" smtClean="0">
                <a:latin typeface="Georgia" panose="02040502050405020303" pitchFamily="18" charset="0"/>
              </a:rPr>
              <a:t> of data</a:t>
            </a:r>
            <a:endParaRPr lang="en-GB" b="0" dirty="0" smtClean="0">
              <a:latin typeface="Georgia" panose="02040502050405020303" pitchFamily="18" charset="0"/>
            </a:endParaRPr>
          </a:p>
          <a:p>
            <a:pPr lvl="0"/>
            <a:r>
              <a:rPr lang="en-GB" b="1" dirty="0" smtClean="0">
                <a:latin typeface="Georgia" panose="02040502050405020303" pitchFamily="18" charset="0"/>
              </a:rPr>
              <a:t>Better quality of operations</a:t>
            </a:r>
          </a:p>
          <a:p>
            <a:pPr lvl="1"/>
            <a:r>
              <a:rPr lang="en-GB" b="0" dirty="0" smtClean="0">
                <a:latin typeface="Georgia" panose="02040502050405020303" pitchFamily="18" charset="0"/>
              </a:rPr>
              <a:t>More time for value-added activities (e.g. sector policies)</a:t>
            </a:r>
          </a:p>
          <a:p>
            <a:pPr lvl="1"/>
            <a:r>
              <a:rPr lang="en-GB" b="0" dirty="0" smtClean="0">
                <a:latin typeface="Georgia" panose="02040502050405020303" pitchFamily="18" charset="0"/>
              </a:rPr>
              <a:t>Easier </a:t>
            </a:r>
            <a:r>
              <a:rPr lang="en-GB" b="0" dirty="0">
                <a:latin typeface="Georgia" panose="02040502050405020303" pitchFamily="18" charset="0"/>
              </a:rPr>
              <a:t>access to </a:t>
            </a:r>
            <a:r>
              <a:rPr lang="en-GB" b="0" dirty="0" smtClean="0">
                <a:latin typeface="Georgia" panose="02040502050405020303" pitchFamily="18" charset="0"/>
              </a:rPr>
              <a:t>good practices</a:t>
            </a:r>
            <a:endParaRPr lang="en-GB" b="0" dirty="0">
              <a:latin typeface="Georgia" panose="02040502050405020303" pitchFamily="18" charset="0"/>
            </a:endParaRPr>
          </a:p>
          <a:p>
            <a:pPr lvl="0"/>
            <a:r>
              <a:rPr lang="en-GB" b="1" dirty="0">
                <a:latin typeface="Georgia" panose="02040502050405020303" pitchFamily="18" charset="0"/>
              </a:rPr>
              <a:t>Improved image</a:t>
            </a:r>
          </a:p>
          <a:p>
            <a:pPr lvl="1"/>
            <a:r>
              <a:rPr lang="en-GB" b="0" dirty="0">
                <a:latin typeface="Georgia" panose="02040502050405020303" pitchFamily="18" charset="0"/>
              </a:rPr>
              <a:t>Increased transparency </a:t>
            </a:r>
            <a:r>
              <a:rPr lang="en-GB" b="0" dirty="0" smtClean="0">
                <a:latin typeface="Georgia" panose="02040502050405020303" pitchFamily="18" charset="0"/>
              </a:rPr>
              <a:t>and improved </a:t>
            </a:r>
            <a:r>
              <a:rPr lang="en-GB" b="0" dirty="0">
                <a:latin typeface="Georgia" panose="02040502050405020303" pitchFamily="18" charset="0"/>
              </a:rPr>
              <a:t>external </a:t>
            </a:r>
            <a:r>
              <a:rPr lang="en-GB" b="0" dirty="0" smtClean="0">
                <a:latin typeface="Georgia" panose="02040502050405020303" pitchFamily="18" charset="0"/>
              </a:rPr>
              <a:t>communication</a:t>
            </a:r>
          </a:p>
          <a:p>
            <a:pPr marL="457200" lvl="1" indent="0">
              <a:buNone/>
            </a:pPr>
            <a:endParaRPr lang="en-GB" dirty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8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9742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ounded Rectangle 99"/>
          <p:cNvSpPr/>
          <p:nvPr/>
        </p:nvSpPr>
        <p:spPr>
          <a:xfrm>
            <a:off x="8297901" y="3317126"/>
            <a:ext cx="769899" cy="1256777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86" name="Rounded Rectangle 85"/>
          <p:cNvSpPr/>
          <p:nvPr/>
        </p:nvSpPr>
        <p:spPr>
          <a:xfrm>
            <a:off x="5773875" y="3317126"/>
            <a:ext cx="2436763" cy="1256777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i="1" dirty="0">
              <a:solidFill>
                <a:srgbClr val="000000"/>
              </a:solidFill>
            </a:endParaRPr>
          </a:p>
        </p:txBody>
      </p:sp>
      <p:sp>
        <p:nvSpPr>
          <p:cNvPr id="95" name="Rounded Rectangle 94"/>
          <p:cNvSpPr/>
          <p:nvPr/>
        </p:nvSpPr>
        <p:spPr>
          <a:xfrm>
            <a:off x="4946738" y="3328571"/>
            <a:ext cx="769899" cy="1256777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94" name="Rounded Rectangle 93"/>
          <p:cNvSpPr/>
          <p:nvPr/>
        </p:nvSpPr>
        <p:spPr>
          <a:xfrm>
            <a:off x="3276600" y="3349527"/>
            <a:ext cx="1631872" cy="1256777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93" name="Rounded Rectangle 92"/>
          <p:cNvSpPr/>
          <p:nvPr/>
        </p:nvSpPr>
        <p:spPr>
          <a:xfrm>
            <a:off x="2174814" y="3339390"/>
            <a:ext cx="1037239" cy="1256777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82" name="Rounded Rectangle 81"/>
          <p:cNvSpPr/>
          <p:nvPr/>
        </p:nvSpPr>
        <p:spPr>
          <a:xfrm>
            <a:off x="1031225" y="3355749"/>
            <a:ext cx="1056987" cy="1256777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74" name="Rounded Rectangle 73"/>
          <p:cNvSpPr/>
          <p:nvPr/>
        </p:nvSpPr>
        <p:spPr>
          <a:xfrm>
            <a:off x="67560" y="3355749"/>
            <a:ext cx="839786" cy="1256777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15" name="Text Placeholder 12"/>
          <p:cNvSpPr txBox="1">
            <a:spLocks/>
          </p:cNvSpPr>
          <p:nvPr/>
        </p:nvSpPr>
        <p:spPr>
          <a:xfrm>
            <a:off x="8170725" y="4157720"/>
            <a:ext cx="1097280" cy="279392"/>
          </a:xfrm>
          <a:prstGeom prst="rect">
            <a:avLst/>
          </a:prstGeom>
          <a:ln w="19050">
            <a:noFill/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/>
              <a:buChar char="§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–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-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ts val="0"/>
              </a:spcBef>
              <a:buClr>
                <a:srgbClr val="BBE0E3"/>
              </a:buClr>
              <a:defRPr/>
            </a:pPr>
            <a:r>
              <a:rPr lang="en-GB" sz="1108" b="1" kern="0" dirty="0" smtClean="0">
                <a:solidFill>
                  <a:srgbClr val="000000"/>
                </a:solidFill>
              </a:rPr>
              <a:t>Evaluation</a:t>
            </a:r>
            <a:endParaRPr lang="en-GB" sz="1108" b="1" kern="0" dirty="0">
              <a:solidFill>
                <a:srgbClr val="000000"/>
              </a:solidFill>
            </a:endParaRPr>
          </a:p>
        </p:txBody>
      </p:sp>
      <p:sp>
        <p:nvSpPr>
          <p:cNvPr id="21" name="Freeform 256"/>
          <p:cNvSpPr>
            <a:spLocks noChangeAspect="1" noEditPoints="1"/>
          </p:cNvSpPr>
          <p:nvPr/>
        </p:nvSpPr>
        <p:spPr bwMode="gray">
          <a:xfrm>
            <a:off x="8583249" y="3685214"/>
            <a:ext cx="237580" cy="341971"/>
          </a:xfrm>
          <a:custGeom>
            <a:avLst/>
            <a:gdLst>
              <a:gd name="T0" fmla="*/ 736 w 972"/>
              <a:gd name="T1" fmla="*/ 278 h 1389"/>
              <a:gd name="T2" fmla="*/ 736 w 972"/>
              <a:gd name="T3" fmla="*/ 278 h 1389"/>
              <a:gd name="T4" fmla="*/ 798 w 972"/>
              <a:gd name="T5" fmla="*/ 139 h 1389"/>
              <a:gd name="T6" fmla="*/ 647 w 972"/>
              <a:gd name="T7" fmla="*/ 139 h 1389"/>
              <a:gd name="T8" fmla="*/ 597 w 972"/>
              <a:gd name="T9" fmla="*/ 0 h 1389"/>
              <a:gd name="T10" fmla="*/ 375 w 972"/>
              <a:gd name="T11" fmla="*/ 0 h 1389"/>
              <a:gd name="T12" fmla="*/ 325 w 972"/>
              <a:gd name="T13" fmla="*/ 139 h 1389"/>
              <a:gd name="T14" fmla="*/ 173 w 972"/>
              <a:gd name="T15" fmla="*/ 139 h 1389"/>
              <a:gd name="T16" fmla="*/ 236 w 972"/>
              <a:gd name="T17" fmla="*/ 278 h 1389"/>
              <a:gd name="T18" fmla="*/ 736 w 972"/>
              <a:gd name="T19" fmla="*/ 278 h 1389"/>
              <a:gd name="T20" fmla="*/ 736 w 972"/>
              <a:gd name="T21" fmla="*/ 278 h 1389"/>
              <a:gd name="T22" fmla="*/ 875 w 972"/>
              <a:gd name="T23" fmla="*/ 139 h 1389"/>
              <a:gd name="T24" fmla="*/ 875 w 972"/>
              <a:gd name="T25" fmla="*/ 139 h 1389"/>
              <a:gd name="T26" fmla="*/ 791 w 972"/>
              <a:gd name="T27" fmla="*/ 348 h 1389"/>
              <a:gd name="T28" fmla="*/ 180 w 972"/>
              <a:gd name="T29" fmla="*/ 348 h 1389"/>
              <a:gd name="T30" fmla="*/ 97 w 972"/>
              <a:gd name="T31" fmla="*/ 139 h 1389"/>
              <a:gd name="T32" fmla="*/ 0 w 972"/>
              <a:gd name="T33" fmla="*/ 236 h 1389"/>
              <a:gd name="T34" fmla="*/ 0 w 972"/>
              <a:gd name="T35" fmla="*/ 1292 h 1389"/>
              <a:gd name="T36" fmla="*/ 97 w 972"/>
              <a:gd name="T37" fmla="*/ 1389 h 1389"/>
              <a:gd name="T38" fmla="*/ 875 w 972"/>
              <a:gd name="T39" fmla="*/ 1389 h 1389"/>
              <a:gd name="T40" fmla="*/ 972 w 972"/>
              <a:gd name="T41" fmla="*/ 1292 h 1389"/>
              <a:gd name="T42" fmla="*/ 972 w 972"/>
              <a:gd name="T43" fmla="*/ 236 h 1389"/>
              <a:gd name="T44" fmla="*/ 875 w 972"/>
              <a:gd name="T45" fmla="*/ 139 h 1389"/>
              <a:gd name="T46" fmla="*/ 875 w 972"/>
              <a:gd name="T47" fmla="*/ 139 h 13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972" h="1389">
                <a:moveTo>
                  <a:pt x="736" y="278"/>
                </a:moveTo>
                <a:lnTo>
                  <a:pt x="736" y="278"/>
                </a:lnTo>
                <a:lnTo>
                  <a:pt x="798" y="139"/>
                </a:lnTo>
                <a:lnTo>
                  <a:pt x="647" y="139"/>
                </a:lnTo>
                <a:lnTo>
                  <a:pt x="597" y="0"/>
                </a:lnTo>
                <a:lnTo>
                  <a:pt x="375" y="0"/>
                </a:lnTo>
                <a:lnTo>
                  <a:pt x="325" y="139"/>
                </a:lnTo>
                <a:lnTo>
                  <a:pt x="173" y="139"/>
                </a:lnTo>
                <a:lnTo>
                  <a:pt x="236" y="278"/>
                </a:lnTo>
                <a:lnTo>
                  <a:pt x="736" y="278"/>
                </a:lnTo>
                <a:lnTo>
                  <a:pt x="736" y="278"/>
                </a:lnTo>
                <a:close/>
                <a:moveTo>
                  <a:pt x="875" y="139"/>
                </a:moveTo>
                <a:lnTo>
                  <a:pt x="875" y="139"/>
                </a:lnTo>
                <a:lnTo>
                  <a:pt x="791" y="348"/>
                </a:lnTo>
                <a:lnTo>
                  <a:pt x="180" y="348"/>
                </a:lnTo>
                <a:lnTo>
                  <a:pt x="97" y="139"/>
                </a:lnTo>
                <a:cubicBezTo>
                  <a:pt x="43" y="139"/>
                  <a:pt x="0" y="183"/>
                  <a:pt x="0" y="236"/>
                </a:cubicBezTo>
                <a:lnTo>
                  <a:pt x="0" y="1292"/>
                </a:lnTo>
                <a:cubicBezTo>
                  <a:pt x="0" y="1345"/>
                  <a:pt x="43" y="1389"/>
                  <a:pt x="97" y="1389"/>
                </a:cubicBezTo>
                <a:lnTo>
                  <a:pt x="875" y="1389"/>
                </a:lnTo>
                <a:cubicBezTo>
                  <a:pt x="928" y="1389"/>
                  <a:pt x="972" y="1345"/>
                  <a:pt x="972" y="1292"/>
                </a:cubicBezTo>
                <a:lnTo>
                  <a:pt x="972" y="236"/>
                </a:lnTo>
                <a:cubicBezTo>
                  <a:pt x="972" y="183"/>
                  <a:pt x="928" y="139"/>
                  <a:pt x="875" y="139"/>
                </a:cubicBezTo>
                <a:lnTo>
                  <a:pt x="875" y="139"/>
                </a:lnTo>
                <a:close/>
              </a:path>
            </a:pathLst>
          </a:custGeom>
          <a:solidFill>
            <a:srgbClr val="FF99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8" dirty="0">
              <a:solidFill>
                <a:srgbClr val="0F5494"/>
              </a:solidFill>
            </a:endParaRPr>
          </a:p>
        </p:txBody>
      </p:sp>
      <p:sp>
        <p:nvSpPr>
          <p:cNvPr id="14" name="Text Placeholder 12"/>
          <p:cNvSpPr txBox="1">
            <a:spLocks/>
          </p:cNvSpPr>
          <p:nvPr/>
        </p:nvSpPr>
        <p:spPr>
          <a:xfrm>
            <a:off x="5796136" y="4157719"/>
            <a:ext cx="2430501" cy="239990"/>
          </a:xfrm>
          <a:prstGeom prst="rect">
            <a:avLst/>
          </a:prstGeom>
          <a:ln w="19050">
            <a:noFill/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/>
              <a:buChar char="§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–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-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ts val="0"/>
              </a:spcBef>
              <a:buClr>
                <a:srgbClr val="BBE0E3"/>
              </a:buClr>
              <a:defRPr/>
            </a:pPr>
            <a:r>
              <a:rPr lang="en-GB" sz="1108" b="1" kern="0" dirty="0" smtClean="0">
                <a:solidFill>
                  <a:srgbClr val="000000"/>
                </a:solidFill>
              </a:rPr>
              <a:t>Implementation </a:t>
            </a:r>
            <a:r>
              <a:rPr lang="en-GB" sz="1108" kern="0" dirty="0" smtClean="0">
                <a:solidFill>
                  <a:srgbClr val="000000"/>
                </a:solidFill>
              </a:rPr>
              <a:t>(incl. Audit)</a:t>
            </a:r>
            <a:endParaRPr lang="en-GB" sz="1108" kern="0" dirty="0">
              <a:solidFill>
                <a:srgbClr val="000000"/>
              </a:solidFill>
            </a:endParaRPr>
          </a:p>
        </p:txBody>
      </p:sp>
      <p:sp>
        <p:nvSpPr>
          <p:cNvPr id="22" name="Freeform 20"/>
          <p:cNvSpPr>
            <a:spLocks noEditPoints="1"/>
          </p:cNvSpPr>
          <p:nvPr/>
        </p:nvSpPr>
        <p:spPr bwMode="gray">
          <a:xfrm>
            <a:off x="5791200" y="3694947"/>
            <a:ext cx="369342" cy="387547"/>
          </a:xfrm>
          <a:custGeom>
            <a:avLst/>
            <a:gdLst/>
            <a:ahLst/>
            <a:cxnLst>
              <a:cxn ang="0">
                <a:pos x="77" y="202"/>
              </a:cxn>
              <a:cxn ang="0">
                <a:pos x="62" y="192"/>
              </a:cxn>
              <a:cxn ang="0">
                <a:pos x="45" y="199"/>
              </a:cxn>
              <a:cxn ang="0">
                <a:pos x="37" y="183"/>
              </a:cxn>
              <a:cxn ang="0">
                <a:pos x="19" y="180"/>
              </a:cxn>
              <a:cxn ang="0">
                <a:pos x="9" y="163"/>
              </a:cxn>
              <a:cxn ang="0">
                <a:pos x="15" y="146"/>
              </a:cxn>
              <a:cxn ang="0">
                <a:pos x="5" y="130"/>
              </a:cxn>
              <a:cxn ang="0">
                <a:pos x="19" y="119"/>
              </a:cxn>
              <a:cxn ang="0">
                <a:pos x="19" y="101"/>
              </a:cxn>
              <a:cxn ang="0">
                <a:pos x="36" y="98"/>
              </a:cxn>
              <a:cxn ang="0">
                <a:pos x="45" y="82"/>
              </a:cxn>
              <a:cxn ang="0">
                <a:pos x="62" y="88"/>
              </a:cxn>
              <a:cxn ang="0">
                <a:pos x="77" y="79"/>
              </a:cxn>
              <a:cxn ang="0">
                <a:pos x="89" y="92"/>
              </a:cxn>
              <a:cxn ang="0">
                <a:pos x="107" y="92"/>
              </a:cxn>
              <a:cxn ang="0">
                <a:pos x="110" y="110"/>
              </a:cxn>
              <a:cxn ang="0">
                <a:pos x="126" y="118"/>
              </a:cxn>
              <a:cxn ang="0">
                <a:pos x="119" y="135"/>
              </a:cxn>
              <a:cxn ang="0">
                <a:pos x="129" y="150"/>
              </a:cxn>
              <a:cxn ang="0">
                <a:pos x="115" y="162"/>
              </a:cxn>
              <a:cxn ang="0">
                <a:pos x="116" y="180"/>
              </a:cxn>
              <a:cxn ang="0">
                <a:pos x="98" y="183"/>
              </a:cxn>
              <a:cxn ang="0">
                <a:pos x="90" y="199"/>
              </a:cxn>
              <a:cxn ang="0">
                <a:pos x="27" y="151"/>
              </a:cxn>
              <a:cxn ang="0">
                <a:pos x="108" y="129"/>
              </a:cxn>
              <a:cxn ang="0">
                <a:pos x="61" y="116"/>
              </a:cxn>
              <a:cxn ang="0">
                <a:pos x="74" y="164"/>
              </a:cxn>
              <a:cxn ang="0">
                <a:pos x="61" y="116"/>
              </a:cxn>
              <a:cxn ang="0">
                <a:pos x="77" y="130"/>
              </a:cxn>
              <a:cxn ang="0">
                <a:pos x="57" y="150"/>
              </a:cxn>
              <a:cxn ang="0">
                <a:pos x="176" y="44"/>
              </a:cxn>
              <a:cxn ang="0">
                <a:pos x="165" y="58"/>
              </a:cxn>
              <a:cxn ang="0">
                <a:pos x="167" y="77"/>
              </a:cxn>
              <a:cxn ang="0">
                <a:pos x="149" y="80"/>
              </a:cxn>
              <a:cxn ang="0">
                <a:pos x="138" y="95"/>
              </a:cxn>
              <a:cxn ang="0">
                <a:pos x="123" y="84"/>
              </a:cxn>
              <a:cxn ang="0">
                <a:pos x="104" y="86"/>
              </a:cxn>
              <a:cxn ang="0">
                <a:pos x="101" y="69"/>
              </a:cxn>
              <a:cxn ang="0">
                <a:pos x="87" y="57"/>
              </a:cxn>
              <a:cxn ang="0">
                <a:pos x="97" y="42"/>
              </a:cxn>
              <a:cxn ang="0">
                <a:pos x="95" y="23"/>
              </a:cxn>
              <a:cxn ang="0">
                <a:pos x="113" y="20"/>
              </a:cxn>
              <a:cxn ang="0">
                <a:pos x="125" y="6"/>
              </a:cxn>
              <a:cxn ang="0">
                <a:pos x="139" y="16"/>
              </a:cxn>
              <a:cxn ang="0">
                <a:pos x="158" y="14"/>
              </a:cxn>
              <a:cxn ang="0">
                <a:pos x="161" y="32"/>
              </a:cxn>
              <a:cxn ang="0">
                <a:pos x="176" y="44"/>
              </a:cxn>
              <a:cxn ang="0">
                <a:pos x="139" y="42"/>
              </a:cxn>
              <a:cxn ang="0">
                <a:pos x="123" y="58"/>
              </a:cxn>
            </a:cxnLst>
            <a:rect l="0" t="0" r="r" b="b"/>
            <a:pathLst>
              <a:path w="181" h="207">
                <a:moveTo>
                  <a:pt x="90" y="199"/>
                </a:moveTo>
                <a:cubicBezTo>
                  <a:pt x="91" y="204"/>
                  <a:pt x="79" y="207"/>
                  <a:pt x="77" y="202"/>
                </a:cubicBezTo>
                <a:cubicBezTo>
                  <a:pt x="76" y="198"/>
                  <a:pt x="74" y="195"/>
                  <a:pt x="73" y="192"/>
                </a:cubicBezTo>
                <a:cubicBezTo>
                  <a:pt x="69" y="193"/>
                  <a:pt x="65" y="193"/>
                  <a:pt x="62" y="192"/>
                </a:cubicBezTo>
                <a:cubicBezTo>
                  <a:pt x="60" y="195"/>
                  <a:pt x="59" y="198"/>
                  <a:pt x="57" y="202"/>
                </a:cubicBezTo>
                <a:cubicBezTo>
                  <a:pt x="56" y="207"/>
                  <a:pt x="44" y="204"/>
                  <a:pt x="45" y="199"/>
                </a:cubicBezTo>
                <a:cubicBezTo>
                  <a:pt x="46" y="194"/>
                  <a:pt x="46" y="191"/>
                  <a:pt x="46" y="188"/>
                </a:cubicBezTo>
                <a:cubicBezTo>
                  <a:pt x="43" y="187"/>
                  <a:pt x="39" y="185"/>
                  <a:pt x="37" y="183"/>
                </a:cubicBezTo>
                <a:cubicBezTo>
                  <a:pt x="34" y="184"/>
                  <a:pt x="31" y="186"/>
                  <a:pt x="28" y="189"/>
                </a:cubicBezTo>
                <a:cubicBezTo>
                  <a:pt x="24" y="192"/>
                  <a:pt x="15" y="184"/>
                  <a:pt x="19" y="180"/>
                </a:cubicBezTo>
                <a:cubicBezTo>
                  <a:pt x="22" y="177"/>
                  <a:pt x="24" y="174"/>
                  <a:pt x="25" y="171"/>
                </a:cubicBezTo>
                <a:cubicBezTo>
                  <a:pt x="19" y="163"/>
                  <a:pt x="20" y="160"/>
                  <a:pt x="9" y="163"/>
                </a:cubicBezTo>
                <a:cubicBezTo>
                  <a:pt x="4" y="164"/>
                  <a:pt x="0" y="152"/>
                  <a:pt x="5" y="150"/>
                </a:cubicBezTo>
                <a:cubicBezTo>
                  <a:pt x="10" y="149"/>
                  <a:pt x="13" y="147"/>
                  <a:pt x="15" y="146"/>
                </a:cubicBezTo>
                <a:cubicBezTo>
                  <a:pt x="15" y="142"/>
                  <a:pt x="15" y="139"/>
                  <a:pt x="15" y="135"/>
                </a:cubicBezTo>
                <a:cubicBezTo>
                  <a:pt x="13" y="133"/>
                  <a:pt x="10" y="132"/>
                  <a:pt x="5" y="130"/>
                </a:cubicBezTo>
                <a:cubicBezTo>
                  <a:pt x="1" y="129"/>
                  <a:pt x="4" y="117"/>
                  <a:pt x="9" y="118"/>
                </a:cubicBezTo>
                <a:cubicBezTo>
                  <a:pt x="13" y="119"/>
                  <a:pt x="17" y="119"/>
                  <a:pt x="19" y="119"/>
                </a:cubicBezTo>
                <a:cubicBezTo>
                  <a:pt x="21" y="116"/>
                  <a:pt x="23" y="113"/>
                  <a:pt x="25" y="110"/>
                </a:cubicBezTo>
                <a:cubicBezTo>
                  <a:pt x="24" y="107"/>
                  <a:pt x="22" y="104"/>
                  <a:pt x="19" y="101"/>
                </a:cubicBezTo>
                <a:cubicBezTo>
                  <a:pt x="15" y="97"/>
                  <a:pt x="24" y="88"/>
                  <a:pt x="28" y="92"/>
                </a:cubicBezTo>
                <a:cubicBezTo>
                  <a:pt x="31" y="95"/>
                  <a:pt x="34" y="97"/>
                  <a:pt x="36" y="98"/>
                </a:cubicBezTo>
                <a:cubicBezTo>
                  <a:pt x="39" y="96"/>
                  <a:pt x="43" y="94"/>
                  <a:pt x="46" y="92"/>
                </a:cubicBezTo>
                <a:cubicBezTo>
                  <a:pt x="46" y="90"/>
                  <a:pt x="46" y="86"/>
                  <a:pt x="45" y="82"/>
                </a:cubicBezTo>
                <a:cubicBezTo>
                  <a:pt x="44" y="77"/>
                  <a:pt x="56" y="74"/>
                  <a:pt x="57" y="78"/>
                </a:cubicBezTo>
                <a:cubicBezTo>
                  <a:pt x="59" y="83"/>
                  <a:pt x="60" y="86"/>
                  <a:pt x="62" y="88"/>
                </a:cubicBezTo>
                <a:cubicBezTo>
                  <a:pt x="65" y="88"/>
                  <a:pt x="69" y="88"/>
                  <a:pt x="73" y="88"/>
                </a:cubicBezTo>
                <a:cubicBezTo>
                  <a:pt x="74" y="86"/>
                  <a:pt x="76" y="83"/>
                  <a:pt x="77" y="79"/>
                </a:cubicBezTo>
                <a:cubicBezTo>
                  <a:pt x="79" y="74"/>
                  <a:pt x="91" y="77"/>
                  <a:pt x="90" y="82"/>
                </a:cubicBezTo>
                <a:cubicBezTo>
                  <a:pt x="88" y="86"/>
                  <a:pt x="88" y="90"/>
                  <a:pt x="89" y="92"/>
                </a:cubicBezTo>
                <a:cubicBezTo>
                  <a:pt x="92" y="94"/>
                  <a:pt x="95" y="96"/>
                  <a:pt x="98" y="98"/>
                </a:cubicBezTo>
                <a:cubicBezTo>
                  <a:pt x="101" y="97"/>
                  <a:pt x="104" y="95"/>
                  <a:pt x="107" y="92"/>
                </a:cubicBezTo>
                <a:cubicBezTo>
                  <a:pt x="110" y="88"/>
                  <a:pt x="119" y="97"/>
                  <a:pt x="116" y="101"/>
                </a:cubicBezTo>
                <a:cubicBezTo>
                  <a:pt x="113" y="104"/>
                  <a:pt x="111" y="107"/>
                  <a:pt x="110" y="110"/>
                </a:cubicBezTo>
                <a:cubicBezTo>
                  <a:pt x="112" y="113"/>
                  <a:pt x="114" y="116"/>
                  <a:pt x="115" y="119"/>
                </a:cubicBezTo>
                <a:cubicBezTo>
                  <a:pt x="118" y="119"/>
                  <a:pt x="121" y="119"/>
                  <a:pt x="126" y="118"/>
                </a:cubicBezTo>
                <a:cubicBezTo>
                  <a:pt x="131" y="117"/>
                  <a:pt x="134" y="129"/>
                  <a:pt x="129" y="130"/>
                </a:cubicBezTo>
                <a:cubicBezTo>
                  <a:pt x="125" y="132"/>
                  <a:pt x="121" y="133"/>
                  <a:pt x="119" y="135"/>
                </a:cubicBezTo>
                <a:cubicBezTo>
                  <a:pt x="120" y="139"/>
                  <a:pt x="120" y="142"/>
                  <a:pt x="119" y="146"/>
                </a:cubicBezTo>
                <a:cubicBezTo>
                  <a:pt x="121" y="148"/>
                  <a:pt x="125" y="149"/>
                  <a:pt x="129" y="150"/>
                </a:cubicBezTo>
                <a:cubicBezTo>
                  <a:pt x="134" y="152"/>
                  <a:pt x="131" y="164"/>
                  <a:pt x="126" y="163"/>
                </a:cubicBezTo>
                <a:cubicBezTo>
                  <a:pt x="121" y="162"/>
                  <a:pt x="118" y="161"/>
                  <a:pt x="115" y="162"/>
                </a:cubicBezTo>
                <a:cubicBezTo>
                  <a:pt x="114" y="165"/>
                  <a:pt x="112" y="168"/>
                  <a:pt x="110" y="171"/>
                </a:cubicBezTo>
                <a:cubicBezTo>
                  <a:pt x="111" y="174"/>
                  <a:pt x="113" y="177"/>
                  <a:pt x="116" y="180"/>
                </a:cubicBezTo>
                <a:cubicBezTo>
                  <a:pt x="119" y="184"/>
                  <a:pt x="110" y="192"/>
                  <a:pt x="107" y="189"/>
                </a:cubicBezTo>
                <a:cubicBezTo>
                  <a:pt x="103" y="186"/>
                  <a:pt x="100" y="184"/>
                  <a:pt x="98" y="183"/>
                </a:cubicBezTo>
                <a:cubicBezTo>
                  <a:pt x="95" y="185"/>
                  <a:pt x="92" y="187"/>
                  <a:pt x="89" y="188"/>
                </a:cubicBezTo>
                <a:cubicBezTo>
                  <a:pt x="88" y="191"/>
                  <a:pt x="88" y="194"/>
                  <a:pt x="90" y="199"/>
                </a:cubicBezTo>
                <a:close/>
                <a:moveTo>
                  <a:pt x="56" y="100"/>
                </a:moveTo>
                <a:cubicBezTo>
                  <a:pt x="34" y="106"/>
                  <a:pt x="21" y="129"/>
                  <a:pt x="27" y="151"/>
                </a:cubicBezTo>
                <a:cubicBezTo>
                  <a:pt x="33" y="174"/>
                  <a:pt x="56" y="187"/>
                  <a:pt x="78" y="181"/>
                </a:cubicBezTo>
                <a:cubicBezTo>
                  <a:pt x="100" y="175"/>
                  <a:pt x="114" y="152"/>
                  <a:pt x="108" y="129"/>
                </a:cubicBezTo>
                <a:cubicBezTo>
                  <a:pt x="102" y="107"/>
                  <a:pt x="79" y="94"/>
                  <a:pt x="56" y="100"/>
                </a:cubicBezTo>
                <a:close/>
                <a:moveTo>
                  <a:pt x="61" y="116"/>
                </a:moveTo>
                <a:cubicBezTo>
                  <a:pt x="48" y="120"/>
                  <a:pt x="40" y="133"/>
                  <a:pt x="43" y="147"/>
                </a:cubicBezTo>
                <a:cubicBezTo>
                  <a:pt x="47" y="160"/>
                  <a:pt x="60" y="168"/>
                  <a:pt x="74" y="164"/>
                </a:cubicBezTo>
                <a:cubicBezTo>
                  <a:pt x="87" y="161"/>
                  <a:pt x="95" y="147"/>
                  <a:pt x="91" y="134"/>
                </a:cubicBezTo>
                <a:cubicBezTo>
                  <a:pt x="88" y="121"/>
                  <a:pt x="74" y="113"/>
                  <a:pt x="61" y="116"/>
                </a:cubicBezTo>
                <a:close/>
                <a:moveTo>
                  <a:pt x="57" y="130"/>
                </a:moveTo>
                <a:cubicBezTo>
                  <a:pt x="63" y="125"/>
                  <a:pt x="72" y="125"/>
                  <a:pt x="77" y="130"/>
                </a:cubicBezTo>
                <a:cubicBezTo>
                  <a:pt x="83" y="136"/>
                  <a:pt x="83" y="145"/>
                  <a:pt x="77" y="150"/>
                </a:cubicBezTo>
                <a:cubicBezTo>
                  <a:pt x="72" y="156"/>
                  <a:pt x="63" y="156"/>
                  <a:pt x="57" y="150"/>
                </a:cubicBezTo>
                <a:cubicBezTo>
                  <a:pt x="52" y="145"/>
                  <a:pt x="52" y="136"/>
                  <a:pt x="57" y="130"/>
                </a:cubicBezTo>
                <a:close/>
                <a:moveTo>
                  <a:pt x="176" y="44"/>
                </a:moveTo>
                <a:cubicBezTo>
                  <a:pt x="181" y="44"/>
                  <a:pt x="181" y="56"/>
                  <a:pt x="176" y="57"/>
                </a:cubicBezTo>
                <a:cubicBezTo>
                  <a:pt x="171" y="57"/>
                  <a:pt x="168" y="57"/>
                  <a:pt x="165" y="58"/>
                </a:cubicBezTo>
                <a:cubicBezTo>
                  <a:pt x="164" y="62"/>
                  <a:pt x="163" y="65"/>
                  <a:pt x="161" y="69"/>
                </a:cubicBezTo>
                <a:cubicBezTo>
                  <a:pt x="162" y="71"/>
                  <a:pt x="164" y="74"/>
                  <a:pt x="167" y="77"/>
                </a:cubicBezTo>
                <a:cubicBezTo>
                  <a:pt x="171" y="81"/>
                  <a:pt x="162" y="90"/>
                  <a:pt x="158" y="86"/>
                </a:cubicBezTo>
                <a:cubicBezTo>
                  <a:pt x="155" y="83"/>
                  <a:pt x="152" y="81"/>
                  <a:pt x="149" y="80"/>
                </a:cubicBezTo>
                <a:cubicBezTo>
                  <a:pt x="146" y="82"/>
                  <a:pt x="143" y="84"/>
                  <a:pt x="139" y="84"/>
                </a:cubicBezTo>
                <a:cubicBezTo>
                  <a:pt x="138" y="87"/>
                  <a:pt x="138" y="90"/>
                  <a:pt x="138" y="95"/>
                </a:cubicBezTo>
                <a:cubicBezTo>
                  <a:pt x="137" y="100"/>
                  <a:pt x="125" y="100"/>
                  <a:pt x="125" y="95"/>
                </a:cubicBezTo>
                <a:cubicBezTo>
                  <a:pt x="125" y="90"/>
                  <a:pt x="124" y="87"/>
                  <a:pt x="123" y="84"/>
                </a:cubicBezTo>
                <a:cubicBezTo>
                  <a:pt x="119" y="84"/>
                  <a:pt x="116" y="82"/>
                  <a:pt x="113" y="80"/>
                </a:cubicBezTo>
                <a:cubicBezTo>
                  <a:pt x="110" y="81"/>
                  <a:pt x="107" y="83"/>
                  <a:pt x="104" y="86"/>
                </a:cubicBezTo>
                <a:cubicBezTo>
                  <a:pt x="100" y="90"/>
                  <a:pt x="92" y="81"/>
                  <a:pt x="95" y="77"/>
                </a:cubicBezTo>
                <a:cubicBezTo>
                  <a:pt x="98" y="74"/>
                  <a:pt x="100" y="71"/>
                  <a:pt x="101" y="69"/>
                </a:cubicBezTo>
                <a:cubicBezTo>
                  <a:pt x="99" y="66"/>
                  <a:pt x="98" y="62"/>
                  <a:pt x="97" y="58"/>
                </a:cubicBezTo>
                <a:cubicBezTo>
                  <a:pt x="94" y="57"/>
                  <a:pt x="91" y="57"/>
                  <a:pt x="87" y="57"/>
                </a:cubicBezTo>
                <a:cubicBezTo>
                  <a:pt x="81" y="56"/>
                  <a:pt x="81" y="44"/>
                  <a:pt x="87" y="44"/>
                </a:cubicBezTo>
                <a:cubicBezTo>
                  <a:pt x="91" y="44"/>
                  <a:pt x="94" y="43"/>
                  <a:pt x="97" y="42"/>
                </a:cubicBezTo>
                <a:cubicBezTo>
                  <a:pt x="98" y="39"/>
                  <a:pt x="99" y="35"/>
                  <a:pt x="101" y="32"/>
                </a:cubicBezTo>
                <a:cubicBezTo>
                  <a:pt x="100" y="29"/>
                  <a:pt x="98" y="27"/>
                  <a:pt x="95" y="23"/>
                </a:cubicBezTo>
                <a:cubicBezTo>
                  <a:pt x="91" y="19"/>
                  <a:pt x="100" y="11"/>
                  <a:pt x="104" y="14"/>
                </a:cubicBezTo>
                <a:cubicBezTo>
                  <a:pt x="107" y="17"/>
                  <a:pt x="110" y="19"/>
                  <a:pt x="113" y="20"/>
                </a:cubicBezTo>
                <a:cubicBezTo>
                  <a:pt x="116" y="18"/>
                  <a:pt x="119" y="17"/>
                  <a:pt x="123" y="16"/>
                </a:cubicBezTo>
                <a:cubicBezTo>
                  <a:pt x="124" y="14"/>
                  <a:pt x="125" y="10"/>
                  <a:pt x="125" y="6"/>
                </a:cubicBezTo>
                <a:cubicBezTo>
                  <a:pt x="125" y="0"/>
                  <a:pt x="137" y="0"/>
                  <a:pt x="138" y="6"/>
                </a:cubicBezTo>
                <a:cubicBezTo>
                  <a:pt x="138" y="10"/>
                  <a:pt x="138" y="14"/>
                  <a:pt x="139" y="16"/>
                </a:cubicBezTo>
                <a:cubicBezTo>
                  <a:pt x="143" y="17"/>
                  <a:pt x="146" y="19"/>
                  <a:pt x="150" y="21"/>
                </a:cubicBezTo>
                <a:cubicBezTo>
                  <a:pt x="152" y="19"/>
                  <a:pt x="155" y="17"/>
                  <a:pt x="158" y="14"/>
                </a:cubicBezTo>
                <a:cubicBezTo>
                  <a:pt x="162" y="11"/>
                  <a:pt x="171" y="20"/>
                  <a:pt x="167" y="23"/>
                </a:cubicBezTo>
                <a:cubicBezTo>
                  <a:pt x="164" y="27"/>
                  <a:pt x="162" y="29"/>
                  <a:pt x="161" y="32"/>
                </a:cubicBezTo>
                <a:cubicBezTo>
                  <a:pt x="163" y="35"/>
                  <a:pt x="164" y="39"/>
                  <a:pt x="165" y="42"/>
                </a:cubicBezTo>
                <a:cubicBezTo>
                  <a:pt x="168" y="43"/>
                  <a:pt x="171" y="44"/>
                  <a:pt x="176" y="44"/>
                </a:cubicBezTo>
                <a:close/>
                <a:moveTo>
                  <a:pt x="123" y="42"/>
                </a:moveTo>
                <a:cubicBezTo>
                  <a:pt x="127" y="38"/>
                  <a:pt x="135" y="38"/>
                  <a:pt x="139" y="42"/>
                </a:cubicBezTo>
                <a:cubicBezTo>
                  <a:pt x="143" y="47"/>
                  <a:pt x="143" y="54"/>
                  <a:pt x="139" y="58"/>
                </a:cubicBezTo>
                <a:cubicBezTo>
                  <a:pt x="135" y="63"/>
                  <a:pt x="127" y="63"/>
                  <a:pt x="123" y="58"/>
                </a:cubicBezTo>
                <a:cubicBezTo>
                  <a:pt x="119" y="54"/>
                  <a:pt x="119" y="47"/>
                  <a:pt x="123" y="42"/>
                </a:cubicBezTo>
                <a:close/>
              </a:path>
            </a:pathLst>
          </a:custGeom>
          <a:solidFill>
            <a:srgbClr val="FF990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8" dirty="0">
              <a:solidFill>
                <a:srgbClr val="0F5494"/>
              </a:solidFill>
            </a:endParaRPr>
          </a:p>
        </p:txBody>
      </p:sp>
      <p:sp>
        <p:nvSpPr>
          <p:cNvPr id="10" name="Text Placeholder 12"/>
          <p:cNvSpPr txBox="1">
            <a:spLocks/>
          </p:cNvSpPr>
          <p:nvPr/>
        </p:nvSpPr>
        <p:spPr>
          <a:xfrm>
            <a:off x="922145" y="4064248"/>
            <a:ext cx="1221913" cy="414672"/>
          </a:xfrm>
          <a:prstGeom prst="rect">
            <a:avLst/>
          </a:prstGeom>
          <a:ln w="19050">
            <a:noFill/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/>
              <a:buChar char="§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–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-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ts val="0"/>
              </a:spcBef>
              <a:buClr>
                <a:srgbClr val="BBE0E3"/>
              </a:buClr>
              <a:defRPr/>
            </a:pPr>
            <a:r>
              <a:rPr lang="en-GB" sz="1108" b="1" kern="0" dirty="0" smtClean="0">
                <a:solidFill>
                  <a:srgbClr val="000000"/>
                </a:solidFill>
              </a:rPr>
              <a:t>Multi-Annual Financial Planning</a:t>
            </a:r>
            <a:endParaRPr lang="en-GB" sz="1108" b="1" kern="0" dirty="0">
              <a:solidFill>
                <a:srgbClr val="000000"/>
              </a:solidFill>
            </a:endParaRPr>
          </a:p>
        </p:txBody>
      </p:sp>
      <p:sp>
        <p:nvSpPr>
          <p:cNvPr id="35" name="Freeform 33"/>
          <p:cNvSpPr>
            <a:spLocks noEditPoints="1"/>
          </p:cNvSpPr>
          <p:nvPr/>
        </p:nvSpPr>
        <p:spPr bwMode="gray">
          <a:xfrm>
            <a:off x="1371600" y="3691239"/>
            <a:ext cx="336348" cy="329921"/>
          </a:xfrm>
          <a:custGeom>
            <a:avLst/>
            <a:gdLst/>
            <a:ahLst/>
            <a:cxnLst>
              <a:cxn ang="0">
                <a:pos x="180" y="108"/>
              </a:cxn>
              <a:cxn ang="0">
                <a:pos x="169" y="108"/>
              </a:cxn>
              <a:cxn ang="0">
                <a:pos x="163" y="113"/>
              </a:cxn>
              <a:cxn ang="0">
                <a:pos x="163" y="190"/>
              </a:cxn>
              <a:cxn ang="0">
                <a:pos x="169" y="195"/>
              </a:cxn>
              <a:cxn ang="0">
                <a:pos x="180" y="195"/>
              </a:cxn>
              <a:cxn ang="0">
                <a:pos x="185" y="190"/>
              </a:cxn>
              <a:cxn ang="0">
                <a:pos x="185" y="113"/>
              </a:cxn>
              <a:cxn ang="0">
                <a:pos x="180" y="108"/>
              </a:cxn>
              <a:cxn ang="0">
                <a:pos x="199" y="22"/>
              </a:cxn>
              <a:cxn ang="0">
                <a:pos x="159" y="93"/>
              </a:cxn>
              <a:cxn ang="0">
                <a:pos x="145" y="69"/>
              </a:cxn>
              <a:cxn ang="0">
                <a:pos x="122" y="83"/>
              </a:cxn>
              <a:cxn ang="0">
                <a:pos x="74" y="69"/>
              </a:cxn>
              <a:cxn ang="0">
                <a:pos x="57" y="40"/>
              </a:cxn>
              <a:cxn ang="0">
                <a:pos x="0" y="73"/>
              </a:cxn>
              <a:cxn ang="0">
                <a:pos x="21" y="37"/>
              </a:cxn>
              <a:cxn ang="0">
                <a:pos x="88" y="34"/>
              </a:cxn>
              <a:cxn ang="0">
                <a:pos x="103" y="61"/>
              </a:cxn>
              <a:cxn ang="0">
                <a:pos x="131" y="45"/>
              </a:cxn>
              <a:cxn ang="0">
                <a:pos x="118" y="22"/>
              </a:cxn>
              <a:cxn ang="0">
                <a:pos x="199" y="22"/>
              </a:cxn>
              <a:cxn ang="0">
                <a:pos x="129" y="123"/>
              </a:cxn>
              <a:cxn ang="0">
                <a:pos x="141" y="123"/>
              </a:cxn>
              <a:cxn ang="0">
                <a:pos x="146" y="128"/>
              </a:cxn>
              <a:cxn ang="0">
                <a:pos x="146" y="190"/>
              </a:cxn>
              <a:cxn ang="0">
                <a:pos x="141" y="195"/>
              </a:cxn>
              <a:cxn ang="0">
                <a:pos x="129" y="195"/>
              </a:cxn>
              <a:cxn ang="0">
                <a:pos x="124" y="190"/>
              </a:cxn>
              <a:cxn ang="0">
                <a:pos x="124" y="128"/>
              </a:cxn>
              <a:cxn ang="0">
                <a:pos x="129" y="123"/>
              </a:cxn>
              <a:cxn ang="0">
                <a:pos x="101" y="141"/>
              </a:cxn>
              <a:cxn ang="0">
                <a:pos x="90" y="141"/>
              </a:cxn>
              <a:cxn ang="0">
                <a:pos x="84" y="146"/>
              </a:cxn>
              <a:cxn ang="0">
                <a:pos x="84" y="190"/>
              </a:cxn>
              <a:cxn ang="0">
                <a:pos x="90" y="195"/>
              </a:cxn>
              <a:cxn ang="0">
                <a:pos x="101" y="195"/>
              </a:cxn>
              <a:cxn ang="0">
                <a:pos x="106" y="190"/>
              </a:cxn>
              <a:cxn ang="0">
                <a:pos x="106" y="146"/>
              </a:cxn>
              <a:cxn ang="0">
                <a:pos x="101" y="141"/>
              </a:cxn>
              <a:cxn ang="0">
                <a:pos x="50" y="86"/>
              </a:cxn>
              <a:cxn ang="0">
                <a:pos x="62" y="86"/>
              </a:cxn>
              <a:cxn ang="0">
                <a:pos x="67" y="91"/>
              </a:cxn>
              <a:cxn ang="0">
                <a:pos x="67" y="190"/>
              </a:cxn>
              <a:cxn ang="0">
                <a:pos x="62" y="195"/>
              </a:cxn>
              <a:cxn ang="0">
                <a:pos x="50" y="195"/>
              </a:cxn>
              <a:cxn ang="0">
                <a:pos x="45" y="190"/>
              </a:cxn>
              <a:cxn ang="0">
                <a:pos x="45" y="91"/>
              </a:cxn>
              <a:cxn ang="0">
                <a:pos x="50" y="86"/>
              </a:cxn>
              <a:cxn ang="0">
                <a:pos x="22" y="109"/>
              </a:cxn>
              <a:cxn ang="0">
                <a:pos x="11" y="109"/>
              </a:cxn>
              <a:cxn ang="0">
                <a:pos x="5" y="115"/>
              </a:cxn>
              <a:cxn ang="0">
                <a:pos x="5" y="190"/>
              </a:cxn>
              <a:cxn ang="0">
                <a:pos x="11" y="195"/>
              </a:cxn>
              <a:cxn ang="0">
                <a:pos x="22" y="195"/>
              </a:cxn>
              <a:cxn ang="0">
                <a:pos x="27" y="190"/>
              </a:cxn>
              <a:cxn ang="0">
                <a:pos x="27" y="115"/>
              </a:cxn>
              <a:cxn ang="0">
                <a:pos x="22" y="109"/>
              </a:cxn>
            </a:cxnLst>
            <a:rect l="0" t="0" r="r" b="b"/>
            <a:pathLst>
              <a:path w="199" h="195">
                <a:moveTo>
                  <a:pt x="180" y="108"/>
                </a:moveTo>
                <a:cubicBezTo>
                  <a:pt x="169" y="108"/>
                  <a:pt x="169" y="108"/>
                  <a:pt x="169" y="108"/>
                </a:cubicBezTo>
                <a:cubicBezTo>
                  <a:pt x="166" y="108"/>
                  <a:pt x="163" y="111"/>
                  <a:pt x="163" y="113"/>
                </a:cubicBezTo>
                <a:cubicBezTo>
                  <a:pt x="163" y="190"/>
                  <a:pt x="163" y="190"/>
                  <a:pt x="163" y="190"/>
                </a:cubicBezTo>
                <a:cubicBezTo>
                  <a:pt x="163" y="193"/>
                  <a:pt x="166" y="195"/>
                  <a:pt x="169" y="195"/>
                </a:cubicBezTo>
                <a:cubicBezTo>
                  <a:pt x="180" y="195"/>
                  <a:pt x="180" y="195"/>
                  <a:pt x="180" y="195"/>
                </a:cubicBezTo>
                <a:cubicBezTo>
                  <a:pt x="183" y="195"/>
                  <a:pt x="185" y="193"/>
                  <a:pt x="185" y="190"/>
                </a:cubicBezTo>
                <a:cubicBezTo>
                  <a:pt x="185" y="113"/>
                  <a:pt x="185" y="113"/>
                  <a:pt x="185" y="113"/>
                </a:cubicBezTo>
                <a:cubicBezTo>
                  <a:pt x="185" y="111"/>
                  <a:pt x="183" y="108"/>
                  <a:pt x="180" y="108"/>
                </a:cubicBezTo>
                <a:close/>
                <a:moveTo>
                  <a:pt x="199" y="22"/>
                </a:moveTo>
                <a:cubicBezTo>
                  <a:pt x="159" y="93"/>
                  <a:pt x="159" y="93"/>
                  <a:pt x="159" y="93"/>
                </a:cubicBezTo>
                <a:cubicBezTo>
                  <a:pt x="145" y="69"/>
                  <a:pt x="145" y="69"/>
                  <a:pt x="145" y="69"/>
                </a:cubicBezTo>
                <a:cubicBezTo>
                  <a:pt x="122" y="83"/>
                  <a:pt x="122" y="83"/>
                  <a:pt x="122" y="83"/>
                </a:cubicBezTo>
                <a:cubicBezTo>
                  <a:pt x="100" y="97"/>
                  <a:pt x="88" y="93"/>
                  <a:pt x="74" y="69"/>
                </a:cubicBezTo>
                <a:cubicBezTo>
                  <a:pt x="57" y="40"/>
                  <a:pt x="57" y="40"/>
                  <a:pt x="57" y="40"/>
                </a:cubicBezTo>
                <a:cubicBezTo>
                  <a:pt x="0" y="73"/>
                  <a:pt x="0" y="73"/>
                  <a:pt x="0" y="73"/>
                </a:cubicBezTo>
                <a:cubicBezTo>
                  <a:pt x="3" y="65"/>
                  <a:pt x="11" y="50"/>
                  <a:pt x="21" y="37"/>
                </a:cubicBezTo>
                <a:cubicBezTo>
                  <a:pt x="44" y="10"/>
                  <a:pt x="68" y="0"/>
                  <a:pt x="88" y="34"/>
                </a:cubicBezTo>
                <a:cubicBezTo>
                  <a:pt x="103" y="61"/>
                  <a:pt x="103" y="61"/>
                  <a:pt x="103" y="61"/>
                </a:cubicBezTo>
                <a:cubicBezTo>
                  <a:pt x="131" y="45"/>
                  <a:pt x="131" y="45"/>
                  <a:pt x="131" y="45"/>
                </a:cubicBezTo>
                <a:cubicBezTo>
                  <a:pt x="118" y="22"/>
                  <a:pt x="118" y="22"/>
                  <a:pt x="118" y="22"/>
                </a:cubicBezTo>
                <a:cubicBezTo>
                  <a:pt x="199" y="22"/>
                  <a:pt x="199" y="22"/>
                  <a:pt x="199" y="22"/>
                </a:cubicBezTo>
                <a:close/>
                <a:moveTo>
                  <a:pt x="129" y="123"/>
                </a:moveTo>
                <a:cubicBezTo>
                  <a:pt x="141" y="123"/>
                  <a:pt x="141" y="123"/>
                  <a:pt x="141" y="123"/>
                </a:cubicBezTo>
                <a:cubicBezTo>
                  <a:pt x="144" y="123"/>
                  <a:pt x="146" y="125"/>
                  <a:pt x="146" y="128"/>
                </a:cubicBezTo>
                <a:cubicBezTo>
                  <a:pt x="146" y="190"/>
                  <a:pt x="146" y="190"/>
                  <a:pt x="146" y="190"/>
                </a:cubicBezTo>
                <a:cubicBezTo>
                  <a:pt x="146" y="193"/>
                  <a:pt x="144" y="195"/>
                  <a:pt x="141" y="195"/>
                </a:cubicBezTo>
                <a:cubicBezTo>
                  <a:pt x="129" y="195"/>
                  <a:pt x="129" y="195"/>
                  <a:pt x="129" y="195"/>
                </a:cubicBezTo>
                <a:cubicBezTo>
                  <a:pt x="126" y="195"/>
                  <a:pt x="124" y="193"/>
                  <a:pt x="124" y="190"/>
                </a:cubicBezTo>
                <a:cubicBezTo>
                  <a:pt x="124" y="128"/>
                  <a:pt x="124" y="128"/>
                  <a:pt x="124" y="128"/>
                </a:cubicBezTo>
                <a:cubicBezTo>
                  <a:pt x="124" y="125"/>
                  <a:pt x="126" y="123"/>
                  <a:pt x="129" y="123"/>
                </a:cubicBezTo>
                <a:close/>
                <a:moveTo>
                  <a:pt x="101" y="141"/>
                </a:moveTo>
                <a:cubicBezTo>
                  <a:pt x="90" y="141"/>
                  <a:pt x="90" y="141"/>
                  <a:pt x="90" y="141"/>
                </a:cubicBezTo>
                <a:cubicBezTo>
                  <a:pt x="87" y="141"/>
                  <a:pt x="84" y="143"/>
                  <a:pt x="84" y="146"/>
                </a:cubicBezTo>
                <a:cubicBezTo>
                  <a:pt x="84" y="190"/>
                  <a:pt x="84" y="190"/>
                  <a:pt x="84" y="190"/>
                </a:cubicBezTo>
                <a:cubicBezTo>
                  <a:pt x="84" y="193"/>
                  <a:pt x="87" y="195"/>
                  <a:pt x="90" y="195"/>
                </a:cubicBezTo>
                <a:cubicBezTo>
                  <a:pt x="101" y="195"/>
                  <a:pt x="101" y="195"/>
                  <a:pt x="101" y="195"/>
                </a:cubicBezTo>
                <a:cubicBezTo>
                  <a:pt x="104" y="195"/>
                  <a:pt x="106" y="193"/>
                  <a:pt x="106" y="190"/>
                </a:cubicBezTo>
                <a:cubicBezTo>
                  <a:pt x="106" y="146"/>
                  <a:pt x="106" y="146"/>
                  <a:pt x="106" y="146"/>
                </a:cubicBezTo>
                <a:cubicBezTo>
                  <a:pt x="106" y="143"/>
                  <a:pt x="104" y="141"/>
                  <a:pt x="101" y="141"/>
                </a:cubicBezTo>
                <a:close/>
                <a:moveTo>
                  <a:pt x="50" y="86"/>
                </a:moveTo>
                <a:cubicBezTo>
                  <a:pt x="62" y="86"/>
                  <a:pt x="62" y="86"/>
                  <a:pt x="62" y="86"/>
                </a:cubicBezTo>
                <a:cubicBezTo>
                  <a:pt x="65" y="86"/>
                  <a:pt x="67" y="88"/>
                  <a:pt x="67" y="91"/>
                </a:cubicBezTo>
                <a:cubicBezTo>
                  <a:pt x="67" y="190"/>
                  <a:pt x="67" y="190"/>
                  <a:pt x="67" y="190"/>
                </a:cubicBezTo>
                <a:cubicBezTo>
                  <a:pt x="67" y="193"/>
                  <a:pt x="65" y="195"/>
                  <a:pt x="62" y="195"/>
                </a:cubicBezTo>
                <a:cubicBezTo>
                  <a:pt x="50" y="195"/>
                  <a:pt x="50" y="195"/>
                  <a:pt x="50" y="195"/>
                </a:cubicBezTo>
                <a:cubicBezTo>
                  <a:pt x="47" y="195"/>
                  <a:pt x="45" y="193"/>
                  <a:pt x="45" y="190"/>
                </a:cubicBezTo>
                <a:cubicBezTo>
                  <a:pt x="45" y="91"/>
                  <a:pt x="45" y="91"/>
                  <a:pt x="45" y="91"/>
                </a:cubicBezTo>
                <a:cubicBezTo>
                  <a:pt x="45" y="88"/>
                  <a:pt x="47" y="86"/>
                  <a:pt x="50" y="86"/>
                </a:cubicBezTo>
                <a:close/>
                <a:moveTo>
                  <a:pt x="22" y="109"/>
                </a:moveTo>
                <a:cubicBezTo>
                  <a:pt x="11" y="109"/>
                  <a:pt x="11" y="109"/>
                  <a:pt x="11" y="109"/>
                </a:cubicBezTo>
                <a:cubicBezTo>
                  <a:pt x="8" y="109"/>
                  <a:pt x="5" y="112"/>
                  <a:pt x="5" y="115"/>
                </a:cubicBezTo>
                <a:cubicBezTo>
                  <a:pt x="5" y="190"/>
                  <a:pt x="5" y="190"/>
                  <a:pt x="5" y="190"/>
                </a:cubicBezTo>
                <a:cubicBezTo>
                  <a:pt x="5" y="193"/>
                  <a:pt x="8" y="195"/>
                  <a:pt x="11" y="195"/>
                </a:cubicBezTo>
                <a:cubicBezTo>
                  <a:pt x="22" y="195"/>
                  <a:pt x="22" y="195"/>
                  <a:pt x="22" y="195"/>
                </a:cubicBezTo>
                <a:cubicBezTo>
                  <a:pt x="25" y="195"/>
                  <a:pt x="27" y="193"/>
                  <a:pt x="27" y="190"/>
                </a:cubicBezTo>
                <a:cubicBezTo>
                  <a:pt x="27" y="115"/>
                  <a:pt x="27" y="115"/>
                  <a:pt x="27" y="115"/>
                </a:cubicBezTo>
                <a:cubicBezTo>
                  <a:pt x="27" y="112"/>
                  <a:pt x="25" y="109"/>
                  <a:pt x="22" y="109"/>
                </a:cubicBezTo>
                <a:close/>
              </a:path>
            </a:pathLst>
          </a:custGeom>
          <a:solidFill>
            <a:srgbClr val="FF990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8" dirty="0">
              <a:solidFill>
                <a:srgbClr val="0F5494"/>
              </a:solidFill>
            </a:endParaRPr>
          </a:p>
        </p:txBody>
      </p:sp>
      <p:sp>
        <p:nvSpPr>
          <p:cNvPr id="9" name="Text Placeholder 12"/>
          <p:cNvSpPr txBox="1">
            <a:spLocks/>
          </p:cNvSpPr>
          <p:nvPr/>
        </p:nvSpPr>
        <p:spPr>
          <a:xfrm>
            <a:off x="76200" y="4108232"/>
            <a:ext cx="745133" cy="326704"/>
          </a:xfrm>
          <a:prstGeom prst="rect">
            <a:avLst/>
          </a:prstGeom>
          <a:ln w="19050">
            <a:noFill/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/>
              <a:buChar char="§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–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-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ts val="0"/>
              </a:spcBef>
              <a:buClr>
                <a:srgbClr val="BBE0E3"/>
              </a:buClr>
              <a:defRPr/>
            </a:pPr>
            <a:r>
              <a:rPr lang="en-GB" sz="1108" b="1" kern="0" dirty="0" smtClean="0">
                <a:solidFill>
                  <a:srgbClr val="000000"/>
                </a:solidFill>
              </a:rPr>
              <a:t>Policy Making</a:t>
            </a:r>
            <a:endParaRPr lang="en-GB" sz="1108" b="1" kern="0" dirty="0">
              <a:solidFill>
                <a:srgbClr val="000000"/>
              </a:solidFill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298337" y="3689836"/>
            <a:ext cx="330376" cy="332727"/>
            <a:chOff x="4136389" y="1583634"/>
            <a:chExt cx="566824" cy="570861"/>
          </a:xfrm>
          <a:solidFill>
            <a:srgbClr val="FF9900"/>
          </a:solidFill>
        </p:grpSpPr>
        <p:sp>
          <p:nvSpPr>
            <p:cNvPr id="32" name="Freeform 61"/>
            <p:cNvSpPr>
              <a:spLocks noChangeAspect="1" noEditPoints="1"/>
            </p:cNvSpPr>
            <p:nvPr/>
          </p:nvSpPr>
          <p:spPr bwMode="gray">
            <a:xfrm>
              <a:off x="4136389" y="1583634"/>
              <a:ext cx="534036" cy="570861"/>
            </a:xfrm>
            <a:custGeom>
              <a:avLst/>
              <a:gdLst/>
              <a:ahLst/>
              <a:cxnLst>
                <a:cxn ang="0">
                  <a:pos x="187" y="0"/>
                </a:cxn>
                <a:cxn ang="0">
                  <a:pos x="169" y="0"/>
                </a:cxn>
                <a:cxn ang="0">
                  <a:pos x="167" y="0"/>
                </a:cxn>
                <a:cxn ang="0">
                  <a:pos x="151" y="0"/>
                </a:cxn>
                <a:cxn ang="0">
                  <a:pos x="149" y="0"/>
                </a:cxn>
                <a:cxn ang="0">
                  <a:pos x="76" y="0"/>
                </a:cxn>
                <a:cxn ang="0">
                  <a:pos x="76" y="9"/>
                </a:cxn>
                <a:cxn ang="0">
                  <a:pos x="151" y="9"/>
                </a:cxn>
                <a:cxn ang="0">
                  <a:pos x="167" y="26"/>
                </a:cxn>
                <a:cxn ang="0">
                  <a:pos x="167" y="201"/>
                </a:cxn>
                <a:cxn ang="0">
                  <a:pos x="151" y="218"/>
                </a:cxn>
                <a:cxn ang="0">
                  <a:pos x="26" y="218"/>
                </a:cxn>
                <a:cxn ang="0">
                  <a:pos x="10" y="201"/>
                </a:cxn>
                <a:cxn ang="0">
                  <a:pos x="10" y="65"/>
                </a:cxn>
                <a:cxn ang="0">
                  <a:pos x="39" y="65"/>
                </a:cxn>
                <a:cxn ang="0">
                  <a:pos x="66" y="39"/>
                </a:cxn>
                <a:cxn ang="0">
                  <a:pos x="66" y="0"/>
                </a:cxn>
                <a:cxn ang="0">
                  <a:pos x="56" y="0"/>
                </a:cxn>
                <a:cxn ang="0">
                  <a:pos x="0" y="56"/>
                </a:cxn>
                <a:cxn ang="0">
                  <a:pos x="0" y="201"/>
                </a:cxn>
                <a:cxn ang="0">
                  <a:pos x="26" y="228"/>
                </a:cxn>
                <a:cxn ang="0">
                  <a:pos x="149" y="228"/>
                </a:cxn>
                <a:cxn ang="0">
                  <a:pos x="151" y="228"/>
                </a:cxn>
                <a:cxn ang="0">
                  <a:pos x="167" y="228"/>
                </a:cxn>
                <a:cxn ang="0">
                  <a:pos x="169" y="228"/>
                </a:cxn>
                <a:cxn ang="0">
                  <a:pos x="187" y="228"/>
                </a:cxn>
                <a:cxn ang="0">
                  <a:pos x="213" y="201"/>
                </a:cxn>
                <a:cxn ang="0">
                  <a:pos x="213" y="26"/>
                </a:cxn>
                <a:cxn ang="0">
                  <a:pos x="187" y="0"/>
                </a:cxn>
                <a:cxn ang="0">
                  <a:pos x="55" y="13"/>
                </a:cxn>
                <a:cxn ang="0">
                  <a:pos x="55" y="39"/>
                </a:cxn>
                <a:cxn ang="0">
                  <a:pos x="39" y="54"/>
                </a:cxn>
                <a:cxn ang="0">
                  <a:pos x="13" y="54"/>
                </a:cxn>
                <a:cxn ang="0">
                  <a:pos x="55" y="13"/>
                </a:cxn>
                <a:cxn ang="0">
                  <a:pos x="170" y="9"/>
                </a:cxn>
                <a:cxn ang="0">
                  <a:pos x="185" y="26"/>
                </a:cxn>
                <a:cxn ang="0">
                  <a:pos x="185" y="201"/>
                </a:cxn>
                <a:cxn ang="0">
                  <a:pos x="171" y="218"/>
                </a:cxn>
                <a:cxn ang="0">
                  <a:pos x="177" y="201"/>
                </a:cxn>
                <a:cxn ang="0">
                  <a:pos x="177" y="26"/>
                </a:cxn>
                <a:cxn ang="0">
                  <a:pos x="170" y="9"/>
                </a:cxn>
                <a:cxn ang="0">
                  <a:pos x="203" y="201"/>
                </a:cxn>
                <a:cxn ang="0">
                  <a:pos x="189" y="218"/>
                </a:cxn>
                <a:cxn ang="0">
                  <a:pos x="195" y="201"/>
                </a:cxn>
                <a:cxn ang="0">
                  <a:pos x="195" y="26"/>
                </a:cxn>
                <a:cxn ang="0">
                  <a:pos x="188" y="9"/>
                </a:cxn>
                <a:cxn ang="0">
                  <a:pos x="203" y="26"/>
                </a:cxn>
                <a:cxn ang="0">
                  <a:pos x="203" y="201"/>
                </a:cxn>
              </a:cxnLst>
              <a:rect l="0" t="0" r="r" b="b"/>
              <a:pathLst>
                <a:path w="213" h="228">
                  <a:moveTo>
                    <a:pt x="187" y="0"/>
                  </a:moveTo>
                  <a:cubicBezTo>
                    <a:pt x="180" y="0"/>
                    <a:pt x="174" y="0"/>
                    <a:pt x="169" y="0"/>
                  </a:cubicBezTo>
                  <a:cubicBezTo>
                    <a:pt x="168" y="0"/>
                    <a:pt x="168" y="0"/>
                    <a:pt x="167" y="0"/>
                  </a:cubicBezTo>
                  <a:cubicBezTo>
                    <a:pt x="161" y="0"/>
                    <a:pt x="156" y="0"/>
                    <a:pt x="151" y="0"/>
                  </a:cubicBezTo>
                  <a:cubicBezTo>
                    <a:pt x="150" y="0"/>
                    <a:pt x="149" y="0"/>
                    <a:pt x="14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151" y="9"/>
                    <a:pt x="151" y="9"/>
                    <a:pt x="151" y="9"/>
                  </a:cubicBezTo>
                  <a:cubicBezTo>
                    <a:pt x="160" y="9"/>
                    <a:pt x="167" y="17"/>
                    <a:pt x="167" y="26"/>
                  </a:cubicBezTo>
                  <a:cubicBezTo>
                    <a:pt x="167" y="72"/>
                    <a:pt x="167" y="201"/>
                    <a:pt x="167" y="201"/>
                  </a:cubicBezTo>
                  <a:cubicBezTo>
                    <a:pt x="167" y="211"/>
                    <a:pt x="160" y="218"/>
                    <a:pt x="151" y="218"/>
                  </a:cubicBezTo>
                  <a:cubicBezTo>
                    <a:pt x="26" y="218"/>
                    <a:pt x="26" y="218"/>
                    <a:pt x="26" y="218"/>
                  </a:cubicBezTo>
                  <a:cubicBezTo>
                    <a:pt x="17" y="218"/>
                    <a:pt x="10" y="211"/>
                    <a:pt x="10" y="201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54" y="65"/>
                    <a:pt x="66" y="53"/>
                    <a:pt x="66" y="39"/>
                  </a:cubicBezTo>
                  <a:cubicBezTo>
                    <a:pt x="66" y="26"/>
                    <a:pt x="66" y="13"/>
                    <a:pt x="6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216"/>
                    <a:pt x="12" y="228"/>
                    <a:pt x="26" y="228"/>
                  </a:cubicBezTo>
                  <a:cubicBezTo>
                    <a:pt x="119" y="228"/>
                    <a:pt x="143" y="228"/>
                    <a:pt x="149" y="228"/>
                  </a:cubicBezTo>
                  <a:cubicBezTo>
                    <a:pt x="149" y="228"/>
                    <a:pt x="150" y="228"/>
                    <a:pt x="151" y="228"/>
                  </a:cubicBezTo>
                  <a:cubicBezTo>
                    <a:pt x="160" y="228"/>
                    <a:pt x="165" y="228"/>
                    <a:pt x="167" y="228"/>
                  </a:cubicBezTo>
                  <a:cubicBezTo>
                    <a:pt x="168" y="228"/>
                    <a:pt x="168" y="228"/>
                    <a:pt x="169" y="228"/>
                  </a:cubicBezTo>
                  <a:cubicBezTo>
                    <a:pt x="187" y="228"/>
                    <a:pt x="187" y="228"/>
                    <a:pt x="187" y="228"/>
                  </a:cubicBezTo>
                  <a:cubicBezTo>
                    <a:pt x="201" y="228"/>
                    <a:pt x="213" y="216"/>
                    <a:pt x="213" y="201"/>
                  </a:cubicBezTo>
                  <a:cubicBezTo>
                    <a:pt x="213" y="26"/>
                    <a:pt x="213" y="26"/>
                    <a:pt x="213" y="26"/>
                  </a:cubicBezTo>
                  <a:cubicBezTo>
                    <a:pt x="213" y="12"/>
                    <a:pt x="201" y="0"/>
                    <a:pt x="187" y="0"/>
                  </a:cubicBezTo>
                  <a:close/>
                  <a:moveTo>
                    <a:pt x="55" y="13"/>
                  </a:moveTo>
                  <a:cubicBezTo>
                    <a:pt x="55" y="13"/>
                    <a:pt x="55" y="13"/>
                    <a:pt x="55" y="39"/>
                  </a:cubicBezTo>
                  <a:cubicBezTo>
                    <a:pt x="55" y="47"/>
                    <a:pt x="48" y="54"/>
                    <a:pt x="39" y="54"/>
                  </a:cubicBezTo>
                  <a:cubicBezTo>
                    <a:pt x="39" y="54"/>
                    <a:pt x="39" y="54"/>
                    <a:pt x="13" y="54"/>
                  </a:cubicBezTo>
                  <a:cubicBezTo>
                    <a:pt x="13" y="54"/>
                    <a:pt x="13" y="54"/>
                    <a:pt x="55" y="13"/>
                  </a:cubicBezTo>
                  <a:close/>
                  <a:moveTo>
                    <a:pt x="170" y="9"/>
                  </a:moveTo>
                  <a:cubicBezTo>
                    <a:pt x="179" y="10"/>
                    <a:pt x="185" y="18"/>
                    <a:pt x="185" y="26"/>
                  </a:cubicBezTo>
                  <a:cubicBezTo>
                    <a:pt x="185" y="72"/>
                    <a:pt x="185" y="201"/>
                    <a:pt x="185" y="201"/>
                  </a:cubicBezTo>
                  <a:cubicBezTo>
                    <a:pt x="185" y="211"/>
                    <a:pt x="179" y="217"/>
                    <a:pt x="171" y="218"/>
                  </a:cubicBezTo>
                  <a:cubicBezTo>
                    <a:pt x="175" y="214"/>
                    <a:pt x="177" y="208"/>
                    <a:pt x="177" y="201"/>
                  </a:cubicBezTo>
                  <a:cubicBezTo>
                    <a:pt x="177" y="26"/>
                    <a:pt x="177" y="26"/>
                    <a:pt x="177" y="26"/>
                  </a:cubicBezTo>
                  <a:cubicBezTo>
                    <a:pt x="177" y="20"/>
                    <a:pt x="174" y="14"/>
                    <a:pt x="170" y="9"/>
                  </a:cubicBezTo>
                  <a:close/>
                  <a:moveTo>
                    <a:pt x="203" y="201"/>
                  </a:moveTo>
                  <a:cubicBezTo>
                    <a:pt x="203" y="211"/>
                    <a:pt x="197" y="217"/>
                    <a:pt x="189" y="218"/>
                  </a:cubicBezTo>
                  <a:cubicBezTo>
                    <a:pt x="193" y="214"/>
                    <a:pt x="195" y="208"/>
                    <a:pt x="195" y="201"/>
                  </a:cubicBezTo>
                  <a:cubicBezTo>
                    <a:pt x="195" y="26"/>
                    <a:pt x="195" y="26"/>
                    <a:pt x="195" y="26"/>
                  </a:cubicBezTo>
                  <a:cubicBezTo>
                    <a:pt x="195" y="20"/>
                    <a:pt x="192" y="14"/>
                    <a:pt x="188" y="9"/>
                  </a:cubicBezTo>
                  <a:cubicBezTo>
                    <a:pt x="197" y="10"/>
                    <a:pt x="203" y="18"/>
                    <a:pt x="203" y="26"/>
                  </a:cubicBezTo>
                  <a:cubicBezTo>
                    <a:pt x="203" y="72"/>
                    <a:pt x="203" y="201"/>
                    <a:pt x="203" y="201"/>
                  </a:cubicBezTo>
                  <a:close/>
                </a:path>
              </a:pathLst>
            </a:custGeom>
            <a:solidFill>
              <a:srgbClr val="FF99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108" dirty="0">
                <a:solidFill>
                  <a:srgbClr val="0F5494"/>
                </a:solidFill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 rot="2412835">
              <a:off x="4469261" y="1628381"/>
              <a:ext cx="183367" cy="122244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108" dirty="0">
                <a:solidFill>
                  <a:srgbClr val="000000"/>
                </a:solidFill>
              </a:endParaRPr>
            </a:p>
          </p:txBody>
        </p:sp>
        <p:sp>
          <p:nvSpPr>
            <p:cNvPr id="5" name="Rounded Rectangle 4"/>
            <p:cNvSpPr/>
            <p:nvPr/>
          </p:nvSpPr>
          <p:spPr>
            <a:xfrm rot="2412835">
              <a:off x="4442386" y="1585633"/>
              <a:ext cx="50936" cy="122244"/>
            </a:xfrm>
            <a:prstGeom prst="round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108" dirty="0">
                <a:solidFill>
                  <a:srgbClr val="000000"/>
                </a:solidFill>
              </a:endParaRPr>
            </a:p>
          </p:txBody>
        </p:sp>
        <p:sp>
          <p:nvSpPr>
            <p:cNvPr id="36" name="Rounded Rectangle 35"/>
            <p:cNvSpPr/>
            <p:nvPr/>
          </p:nvSpPr>
          <p:spPr>
            <a:xfrm rot="2412835">
              <a:off x="4652277" y="1763095"/>
              <a:ext cx="50936" cy="122244"/>
            </a:xfrm>
            <a:prstGeom prst="round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108" dirty="0">
                <a:solidFill>
                  <a:srgbClr val="000000"/>
                </a:solidFill>
              </a:endParaRPr>
            </a:p>
          </p:txBody>
        </p:sp>
        <p:sp>
          <p:nvSpPr>
            <p:cNvPr id="37" name="Trapezoid 36"/>
            <p:cNvSpPr/>
            <p:nvPr/>
          </p:nvSpPr>
          <p:spPr>
            <a:xfrm rot="2412835">
              <a:off x="4328281" y="1686006"/>
              <a:ext cx="101869" cy="436867"/>
            </a:xfrm>
            <a:prstGeom prst="trapezoid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108" dirty="0">
                <a:solidFill>
                  <a:srgbClr val="000000"/>
                </a:solidFill>
              </a:endParaRPr>
            </a:p>
          </p:txBody>
        </p:sp>
      </p:grpSp>
      <p:sp>
        <p:nvSpPr>
          <p:cNvPr id="13" name="Text Placeholder 12"/>
          <p:cNvSpPr txBox="1">
            <a:spLocks/>
          </p:cNvSpPr>
          <p:nvPr/>
        </p:nvSpPr>
        <p:spPr>
          <a:xfrm>
            <a:off x="4894274" y="4157719"/>
            <a:ext cx="879601" cy="279392"/>
          </a:xfrm>
          <a:prstGeom prst="rect">
            <a:avLst/>
          </a:prstGeom>
          <a:ln w="19050">
            <a:noFill/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/>
              <a:buChar char="§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–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-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ts val="0"/>
              </a:spcBef>
              <a:buClr>
                <a:srgbClr val="BBE0E3"/>
              </a:buClr>
              <a:defRPr/>
            </a:pPr>
            <a:r>
              <a:rPr lang="en-GB" sz="1108" b="1" kern="0" dirty="0" smtClean="0">
                <a:solidFill>
                  <a:srgbClr val="000000"/>
                </a:solidFill>
              </a:rPr>
              <a:t>Financing</a:t>
            </a:r>
            <a:endParaRPr lang="en-GB" sz="1108" b="1" kern="0" dirty="0">
              <a:solidFill>
                <a:srgbClr val="000000"/>
              </a:solidFill>
            </a:endParaRPr>
          </a:p>
        </p:txBody>
      </p:sp>
      <p:sp>
        <p:nvSpPr>
          <p:cNvPr id="12" name="Text Placeholder 12"/>
          <p:cNvSpPr txBox="1">
            <a:spLocks/>
          </p:cNvSpPr>
          <p:nvPr/>
        </p:nvSpPr>
        <p:spPr>
          <a:xfrm>
            <a:off x="3566236" y="4018366"/>
            <a:ext cx="1158164" cy="506437"/>
          </a:xfrm>
          <a:prstGeom prst="rect">
            <a:avLst/>
          </a:prstGeom>
          <a:ln w="19050">
            <a:noFill/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/>
              <a:buChar char="§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–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-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ts val="0"/>
              </a:spcBef>
              <a:buClr>
                <a:srgbClr val="BBE0E3"/>
              </a:buClr>
              <a:defRPr/>
            </a:pPr>
            <a:r>
              <a:rPr lang="en-GB" sz="1108" b="1" kern="0" dirty="0" smtClean="0">
                <a:solidFill>
                  <a:srgbClr val="000000"/>
                </a:solidFill>
              </a:rPr>
              <a:t>Identification &amp; Formulation</a:t>
            </a:r>
          </a:p>
        </p:txBody>
      </p:sp>
      <p:sp>
        <p:nvSpPr>
          <p:cNvPr id="20" name="Freeform 31"/>
          <p:cNvSpPr>
            <a:spLocks noEditPoints="1"/>
          </p:cNvSpPr>
          <p:nvPr/>
        </p:nvSpPr>
        <p:spPr bwMode="gray">
          <a:xfrm>
            <a:off x="3352800" y="3644440"/>
            <a:ext cx="377501" cy="423518"/>
          </a:xfrm>
          <a:custGeom>
            <a:avLst/>
            <a:gdLst/>
            <a:ahLst/>
            <a:cxnLst>
              <a:cxn ang="0">
                <a:pos x="158" y="39"/>
              </a:cxn>
              <a:cxn ang="0">
                <a:pos x="168" y="89"/>
              </a:cxn>
              <a:cxn ang="0">
                <a:pos x="185" y="119"/>
              </a:cxn>
              <a:cxn ang="0">
                <a:pos x="168" y="128"/>
              </a:cxn>
              <a:cxn ang="0">
                <a:pos x="171" y="140"/>
              </a:cxn>
              <a:cxn ang="0">
                <a:pos x="166" y="143"/>
              </a:cxn>
              <a:cxn ang="0">
                <a:pos x="168" y="148"/>
              </a:cxn>
              <a:cxn ang="0">
                <a:pos x="161" y="156"/>
              </a:cxn>
              <a:cxn ang="0">
                <a:pos x="162" y="175"/>
              </a:cxn>
              <a:cxn ang="0">
                <a:pos x="126" y="179"/>
              </a:cxn>
              <a:cxn ang="0">
                <a:pos x="110" y="210"/>
              </a:cxn>
              <a:cxn ang="0">
                <a:pos x="21" y="194"/>
              </a:cxn>
              <a:cxn ang="0">
                <a:pos x="37" y="150"/>
              </a:cxn>
              <a:cxn ang="0">
                <a:pos x="25" y="43"/>
              </a:cxn>
              <a:cxn ang="0">
                <a:pos x="158" y="39"/>
              </a:cxn>
              <a:cxn ang="0">
                <a:pos x="78" y="142"/>
              </a:cxn>
              <a:cxn ang="0">
                <a:pos x="104" y="139"/>
              </a:cxn>
              <a:cxn ang="0">
                <a:pos x="105" y="148"/>
              </a:cxn>
              <a:cxn ang="0">
                <a:pos x="79" y="151"/>
              </a:cxn>
              <a:cxn ang="0">
                <a:pos x="78" y="142"/>
              </a:cxn>
              <a:cxn ang="0">
                <a:pos x="78" y="125"/>
              </a:cxn>
              <a:cxn ang="0">
                <a:pos x="104" y="122"/>
              </a:cxn>
              <a:cxn ang="0">
                <a:pos x="105" y="131"/>
              </a:cxn>
              <a:cxn ang="0">
                <a:pos x="79" y="134"/>
              </a:cxn>
              <a:cxn ang="0">
                <a:pos x="78" y="125"/>
              </a:cxn>
              <a:cxn ang="0">
                <a:pos x="91" y="36"/>
              </a:cxn>
              <a:cxn ang="0">
                <a:pos x="58" y="70"/>
              </a:cxn>
              <a:cxn ang="0">
                <a:pos x="61" y="85"/>
              </a:cxn>
              <a:cxn ang="0">
                <a:pos x="68" y="94"/>
              </a:cxn>
              <a:cxn ang="0">
                <a:pos x="74" y="111"/>
              </a:cxn>
              <a:cxn ang="0">
                <a:pos x="78" y="115"/>
              </a:cxn>
              <a:cxn ang="0">
                <a:pos x="104" y="115"/>
              </a:cxn>
              <a:cxn ang="0">
                <a:pos x="109" y="111"/>
              </a:cxn>
              <a:cxn ang="0">
                <a:pos x="115" y="94"/>
              </a:cxn>
              <a:cxn ang="0">
                <a:pos x="122" y="85"/>
              </a:cxn>
              <a:cxn ang="0">
                <a:pos x="125" y="70"/>
              </a:cxn>
              <a:cxn ang="0">
                <a:pos x="91" y="36"/>
              </a:cxn>
            </a:cxnLst>
            <a:rect l="0" t="0" r="r" b="b"/>
            <a:pathLst>
              <a:path w="187" h="210">
                <a:moveTo>
                  <a:pt x="158" y="39"/>
                </a:moveTo>
                <a:cubicBezTo>
                  <a:pt x="180" y="68"/>
                  <a:pt x="166" y="77"/>
                  <a:pt x="168" y="89"/>
                </a:cubicBezTo>
                <a:cubicBezTo>
                  <a:pt x="171" y="102"/>
                  <a:pt x="187" y="112"/>
                  <a:pt x="185" y="119"/>
                </a:cubicBezTo>
                <a:cubicBezTo>
                  <a:pt x="182" y="126"/>
                  <a:pt x="169" y="124"/>
                  <a:pt x="168" y="128"/>
                </a:cubicBezTo>
                <a:cubicBezTo>
                  <a:pt x="168" y="133"/>
                  <a:pt x="172" y="138"/>
                  <a:pt x="171" y="140"/>
                </a:cubicBezTo>
                <a:cubicBezTo>
                  <a:pt x="171" y="142"/>
                  <a:pt x="166" y="143"/>
                  <a:pt x="166" y="143"/>
                </a:cubicBezTo>
                <a:cubicBezTo>
                  <a:pt x="166" y="143"/>
                  <a:pt x="169" y="146"/>
                  <a:pt x="168" y="148"/>
                </a:cubicBezTo>
                <a:cubicBezTo>
                  <a:pt x="168" y="151"/>
                  <a:pt x="161" y="151"/>
                  <a:pt x="161" y="156"/>
                </a:cubicBezTo>
                <a:cubicBezTo>
                  <a:pt x="161" y="161"/>
                  <a:pt x="169" y="170"/>
                  <a:pt x="162" y="175"/>
                </a:cubicBezTo>
                <a:cubicBezTo>
                  <a:pt x="156" y="180"/>
                  <a:pt x="138" y="174"/>
                  <a:pt x="126" y="179"/>
                </a:cubicBezTo>
                <a:cubicBezTo>
                  <a:pt x="118" y="183"/>
                  <a:pt x="113" y="198"/>
                  <a:pt x="110" y="210"/>
                </a:cubicBezTo>
                <a:cubicBezTo>
                  <a:pt x="70" y="201"/>
                  <a:pt x="47" y="196"/>
                  <a:pt x="21" y="194"/>
                </a:cubicBezTo>
                <a:cubicBezTo>
                  <a:pt x="21" y="194"/>
                  <a:pt x="39" y="166"/>
                  <a:pt x="37" y="150"/>
                </a:cubicBezTo>
                <a:cubicBezTo>
                  <a:pt x="35" y="133"/>
                  <a:pt x="0" y="91"/>
                  <a:pt x="25" y="43"/>
                </a:cubicBezTo>
                <a:cubicBezTo>
                  <a:pt x="47" y="0"/>
                  <a:pt x="128" y="0"/>
                  <a:pt x="158" y="39"/>
                </a:cubicBezTo>
                <a:close/>
                <a:moveTo>
                  <a:pt x="78" y="142"/>
                </a:moveTo>
                <a:cubicBezTo>
                  <a:pt x="104" y="139"/>
                  <a:pt x="104" y="139"/>
                  <a:pt x="104" y="139"/>
                </a:cubicBezTo>
                <a:cubicBezTo>
                  <a:pt x="110" y="139"/>
                  <a:pt x="111" y="148"/>
                  <a:pt x="105" y="148"/>
                </a:cubicBezTo>
                <a:cubicBezTo>
                  <a:pt x="79" y="151"/>
                  <a:pt x="79" y="151"/>
                  <a:pt x="79" y="151"/>
                </a:cubicBezTo>
                <a:cubicBezTo>
                  <a:pt x="73" y="151"/>
                  <a:pt x="72" y="142"/>
                  <a:pt x="78" y="142"/>
                </a:cubicBezTo>
                <a:close/>
                <a:moveTo>
                  <a:pt x="78" y="125"/>
                </a:moveTo>
                <a:cubicBezTo>
                  <a:pt x="104" y="122"/>
                  <a:pt x="104" y="122"/>
                  <a:pt x="104" y="122"/>
                </a:cubicBezTo>
                <a:cubicBezTo>
                  <a:pt x="110" y="122"/>
                  <a:pt x="111" y="130"/>
                  <a:pt x="105" y="131"/>
                </a:cubicBezTo>
                <a:cubicBezTo>
                  <a:pt x="79" y="134"/>
                  <a:pt x="79" y="134"/>
                  <a:pt x="79" y="134"/>
                </a:cubicBezTo>
                <a:cubicBezTo>
                  <a:pt x="73" y="134"/>
                  <a:pt x="72" y="125"/>
                  <a:pt x="78" y="125"/>
                </a:cubicBezTo>
                <a:close/>
                <a:moveTo>
                  <a:pt x="91" y="36"/>
                </a:moveTo>
                <a:cubicBezTo>
                  <a:pt x="73" y="36"/>
                  <a:pt x="58" y="52"/>
                  <a:pt x="58" y="70"/>
                </a:cubicBezTo>
                <a:cubicBezTo>
                  <a:pt x="58" y="75"/>
                  <a:pt x="58" y="80"/>
                  <a:pt x="61" y="85"/>
                </a:cubicBezTo>
                <a:cubicBezTo>
                  <a:pt x="63" y="88"/>
                  <a:pt x="66" y="91"/>
                  <a:pt x="68" y="94"/>
                </a:cubicBezTo>
                <a:cubicBezTo>
                  <a:pt x="72" y="100"/>
                  <a:pt x="74" y="104"/>
                  <a:pt x="74" y="111"/>
                </a:cubicBezTo>
                <a:cubicBezTo>
                  <a:pt x="74" y="113"/>
                  <a:pt x="76" y="115"/>
                  <a:pt x="78" y="115"/>
                </a:cubicBezTo>
                <a:cubicBezTo>
                  <a:pt x="104" y="115"/>
                  <a:pt x="104" y="115"/>
                  <a:pt x="104" y="115"/>
                </a:cubicBezTo>
                <a:cubicBezTo>
                  <a:pt x="107" y="115"/>
                  <a:pt x="109" y="113"/>
                  <a:pt x="109" y="111"/>
                </a:cubicBezTo>
                <a:cubicBezTo>
                  <a:pt x="109" y="104"/>
                  <a:pt x="111" y="100"/>
                  <a:pt x="115" y="94"/>
                </a:cubicBezTo>
                <a:cubicBezTo>
                  <a:pt x="117" y="91"/>
                  <a:pt x="120" y="88"/>
                  <a:pt x="122" y="85"/>
                </a:cubicBezTo>
                <a:cubicBezTo>
                  <a:pt x="124" y="80"/>
                  <a:pt x="125" y="75"/>
                  <a:pt x="125" y="70"/>
                </a:cubicBezTo>
                <a:cubicBezTo>
                  <a:pt x="125" y="52"/>
                  <a:pt x="110" y="36"/>
                  <a:pt x="91" y="36"/>
                </a:cubicBezTo>
                <a:close/>
              </a:path>
            </a:pathLst>
          </a:custGeom>
          <a:solidFill>
            <a:srgbClr val="FF990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8" dirty="0">
              <a:solidFill>
                <a:srgbClr val="0F5494"/>
              </a:solidFill>
            </a:endParaRPr>
          </a:p>
        </p:txBody>
      </p:sp>
      <p:sp>
        <p:nvSpPr>
          <p:cNvPr id="11" name="Text Placeholder 12"/>
          <p:cNvSpPr txBox="1">
            <a:spLocks/>
          </p:cNvSpPr>
          <p:nvPr/>
        </p:nvSpPr>
        <p:spPr>
          <a:xfrm>
            <a:off x="2144058" y="4113326"/>
            <a:ext cx="1097280" cy="316190"/>
          </a:xfrm>
          <a:prstGeom prst="rect">
            <a:avLst/>
          </a:prstGeom>
          <a:ln w="19050">
            <a:noFill/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/>
              <a:buChar char="§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–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-"/>
              <a:defRPr sz="14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ts val="0"/>
              </a:spcBef>
              <a:buClr>
                <a:srgbClr val="BBE0E3"/>
              </a:buClr>
              <a:defRPr/>
            </a:pPr>
            <a:r>
              <a:rPr lang="en-GB" sz="1108" b="1" kern="0" dirty="0" smtClean="0">
                <a:solidFill>
                  <a:srgbClr val="000000"/>
                </a:solidFill>
              </a:rPr>
              <a:t>(Indicative) Programming</a:t>
            </a:r>
            <a:endParaRPr lang="en-GB" sz="1108" b="1" kern="0" dirty="0">
              <a:solidFill>
                <a:srgbClr val="000000"/>
              </a:solidFill>
            </a:endParaRPr>
          </a:p>
        </p:txBody>
      </p:sp>
      <p:sp>
        <p:nvSpPr>
          <p:cNvPr id="71" name="Freeform 34"/>
          <p:cNvSpPr>
            <a:spLocks noEditPoints="1"/>
          </p:cNvSpPr>
          <p:nvPr/>
        </p:nvSpPr>
        <p:spPr bwMode="gray">
          <a:xfrm>
            <a:off x="2235418" y="3688113"/>
            <a:ext cx="355382" cy="336172"/>
          </a:xfrm>
          <a:custGeom>
            <a:avLst/>
            <a:gdLst/>
            <a:ahLst/>
            <a:cxnLst>
              <a:cxn ang="0">
                <a:pos x="96" y="0"/>
              </a:cxn>
              <a:cxn ang="0">
                <a:pos x="165" y="31"/>
              </a:cxn>
              <a:cxn ang="0">
                <a:pos x="155" y="37"/>
              </a:cxn>
              <a:cxn ang="0">
                <a:pos x="127" y="18"/>
              </a:cxn>
              <a:cxn ang="0">
                <a:pos x="141" y="45"/>
              </a:cxn>
              <a:cxn ang="0">
                <a:pos x="122" y="55"/>
              </a:cxn>
              <a:cxn ang="0">
                <a:pos x="102" y="55"/>
              </a:cxn>
              <a:cxn ang="0">
                <a:pos x="102" y="87"/>
              </a:cxn>
              <a:cxn ang="0">
                <a:pos x="127" y="87"/>
              </a:cxn>
              <a:cxn ang="0">
                <a:pos x="118" y="97"/>
              </a:cxn>
              <a:cxn ang="0">
                <a:pos x="102" y="97"/>
              </a:cxn>
              <a:cxn ang="0">
                <a:pos x="102" y="111"/>
              </a:cxn>
              <a:cxn ang="0">
                <a:pos x="92" y="117"/>
              </a:cxn>
              <a:cxn ang="0">
                <a:pos x="92" y="97"/>
              </a:cxn>
              <a:cxn ang="0">
                <a:pos x="56" y="97"/>
              </a:cxn>
              <a:cxn ang="0">
                <a:pos x="60" y="126"/>
              </a:cxn>
              <a:cxn ang="0">
                <a:pos x="49" y="126"/>
              </a:cxn>
              <a:cxn ang="0">
                <a:pos x="46" y="97"/>
              </a:cxn>
              <a:cxn ang="0">
                <a:pos x="16" y="97"/>
              </a:cxn>
              <a:cxn ang="0">
                <a:pos x="21" y="120"/>
              </a:cxn>
              <a:cxn ang="0">
                <a:pos x="6" y="109"/>
              </a:cxn>
              <a:cxn ang="0">
                <a:pos x="4" y="92"/>
              </a:cxn>
              <a:cxn ang="0">
                <a:pos x="96" y="0"/>
              </a:cxn>
              <a:cxn ang="0">
                <a:pos x="203" y="23"/>
              </a:cxn>
              <a:cxn ang="0">
                <a:pos x="127" y="67"/>
              </a:cxn>
              <a:cxn ang="0">
                <a:pos x="147" y="79"/>
              </a:cxn>
              <a:cxn ang="0">
                <a:pos x="0" y="116"/>
              </a:cxn>
              <a:cxn ang="0">
                <a:pos x="182" y="99"/>
              </a:cxn>
              <a:cxn ang="0">
                <a:pos x="203" y="110"/>
              </a:cxn>
              <a:cxn ang="0">
                <a:pos x="203" y="23"/>
              </a:cxn>
              <a:cxn ang="0">
                <a:pos x="185" y="114"/>
              </a:cxn>
              <a:cxn ang="0">
                <a:pos x="96" y="183"/>
              </a:cxn>
              <a:cxn ang="0">
                <a:pos x="58" y="176"/>
              </a:cxn>
              <a:cxn ang="0">
                <a:pos x="184" y="114"/>
              </a:cxn>
              <a:cxn ang="0">
                <a:pos x="185" y="114"/>
              </a:cxn>
              <a:cxn ang="0">
                <a:pos x="102" y="13"/>
              </a:cxn>
              <a:cxn ang="0">
                <a:pos x="130" y="45"/>
              </a:cxn>
              <a:cxn ang="0">
                <a:pos x="102" y="45"/>
              </a:cxn>
              <a:cxn ang="0">
                <a:pos x="102" y="13"/>
              </a:cxn>
              <a:cxn ang="0">
                <a:pos x="16" y="87"/>
              </a:cxn>
              <a:cxn ang="0">
                <a:pos x="24" y="55"/>
              </a:cxn>
              <a:cxn ang="0">
                <a:pos x="50" y="55"/>
              </a:cxn>
              <a:cxn ang="0">
                <a:pos x="46" y="87"/>
              </a:cxn>
              <a:cxn ang="0">
                <a:pos x="16" y="87"/>
              </a:cxn>
              <a:cxn ang="0">
                <a:pos x="30" y="45"/>
              </a:cxn>
              <a:cxn ang="0">
                <a:pos x="68" y="17"/>
              </a:cxn>
              <a:cxn ang="0">
                <a:pos x="53" y="45"/>
              </a:cxn>
              <a:cxn ang="0">
                <a:pos x="30" y="45"/>
              </a:cxn>
              <a:cxn ang="0">
                <a:pos x="92" y="12"/>
              </a:cxn>
              <a:cxn ang="0">
                <a:pos x="92" y="45"/>
              </a:cxn>
              <a:cxn ang="0">
                <a:pos x="64" y="45"/>
              </a:cxn>
              <a:cxn ang="0">
                <a:pos x="92" y="12"/>
              </a:cxn>
              <a:cxn ang="0">
                <a:pos x="92" y="87"/>
              </a:cxn>
              <a:cxn ang="0">
                <a:pos x="56" y="87"/>
              </a:cxn>
              <a:cxn ang="0">
                <a:pos x="61" y="55"/>
              </a:cxn>
              <a:cxn ang="0">
                <a:pos x="92" y="55"/>
              </a:cxn>
              <a:cxn ang="0">
                <a:pos x="92" y="87"/>
              </a:cxn>
            </a:cxnLst>
            <a:rect l="0" t="0" r="r" b="b"/>
            <a:pathLst>
              <a:path w="203" h="192">
                <a:moveTo>
                  <a:pt x="96" y="0"/>
                </a:moveTo>
                <a:cubicBezTo>
                  <a:pt x="124" y="0"/>
                  <a:pt x="149" y="12"/>
                  <a:pt x="165" y="31"/>
                </a:cubicBezTo>
                <a:cubicBezTo>
                  <a:pt x="155" y="37"/>
                  <a:pt x="155" y="37"/>
                  <a:pt x="155" y="37"/>
                </a:cubicBezTo>
                <a:cubicBezTo>
                  <a:pt x="147" y="29"/>
                  <a:pt x="138" y="22"/>
                  <a:pt x="127" y="18"/>
                </a:cubicBezTo>
                <a:cubicBezTo>
                  <a:pt x="133" y="26"/>
                  <a:pt x="137" y="35"/>
                  <a:pt x="141" y="45"/>
                </a:cubicBezTo>
                <a:cubicBezTo>
                  <a:pt x="122" y="55"/>
                  <a:pt x="122" y="55"/>
                  <a:pt x="122" y="55"/>
                </a:cubicBezTo>
                <a:cubicBezTo>
                  <a:pt x="102" y="55"/>
                  <a:pt x="102" y="55"/>
                  <a:pt x="102" y="55"/>
                </a:cubicBezTo>
                <a:cubicBezTo>
                  <a:pt x="102" y="87"/>
                  <a:pt x="102" y="87"/>
                  <a:pt x="102" y="87"/>
                </a:cubicBezTo>
                <a:cubicBezTo>
                  <a:pt x="127" y="87"/>
                  <a:pt x="127" y="87"/>
                  <a:pt x="127" y="87"/>
                </a:cubicBezTo>
                <a:cubicBezTo>
                  <a:pt x="124" y="90"/>
                  <a:pt x="121" y="94"/>
                  <a:pt x="118" y="97"/>
                </a:cubicBezTo>
                <a:cubicBezTo>
                  <a:pt x="102" y="97"/>
                  <a:pt x="102" y="97"/>
                  <a:pt x="102" y="97"/>
                </a:cubicBezTo>
                <a:cubicBezTo>
                  <a:pt x="102" y="111"/>
                  <a:pt x="102" y="111"/>
                  <a:pt x="102" y="111"/>
                </a:cubicBezTo>
                <a:cubicBezTo>
                  <a:pt x="99" y="113"/>
                  <a:pt x="95" y="115"/>
                  <a:pt x="92" y="117"/>
                </a:cubicBezTo>
                <a:cubicBezTo>
                  <a:pt x="92" y="97"/>
                  <a:pt x="92" y="97"/>
                  <a:pt x="92" y="97"/>
                </a:cubicBezTo>
                <a:cubicBezTo>
                  <a:pt x="56" y="97"/>
                  <a:pt x="56" y="97"/>
                  <a:pt x="56" y="97"/>
                </a:cubicBezTo>
                <a:cubicBezTo>
                  <a:pt x="57" y="107"/>
                  <a:pt x="58" y="116"/>
                  <a:pt x="60" y="126"/>
                </a:cubicBezTo>
                <a:cubicBezTo>
                  <a:pt x="57" y="126"/>
                  <a:pt x="53" y="126"/>
                  <a:pt x="49" y="126"/>
                </a:cubicBezTo>
                <a:cubicBezTo>
                  <a:pt x="47" y="116"/>
                  <a:pt x="46" y="107"/>
                  <a:pt x="46" y="97"/>
                </a:cubicBezTo>
                <a:cubicBezTo>
                  <a:pt x="16" y="97"/>
                  <a:pt x="16" y="97"/>
                  <a:pt x="16" y="97"/>
                </a:cubicBezTo>
                <a:cubicBezTo>
                  <a:pt x="17" y="105"/>
                  <a:pt x="18" y="113"/>
                  <a:pt x="21" y="120"/>
                </a:cubicBezTo>
                <a:cubicBezTo>
                  <a:pt x="15" y="117"/>
                  <a:pt x="10" y="113"/>
                  <a:pt x="6" y="109"/>
                </a:cubicBezTo>
                <a:cubicBezTo>
                  <a:pt x="5" y="104"/>
                  <a:pt x="4" y="98"/>
                  <a:pt x="4" y="92"/>
                </a:cubicBezTo>
                <a:cubicBezTo>
                  <a:pt x="4" y="39"/>
                  <a:pt x="43" y="0"/>
                  <a:pt x="96" y="0"/>
                </a:cubicBezTo>
                <a:close/>
                <a:moveTo>
                  <a:pt x="203" y="23"/>
                </a:moveTo>
                <a:cubicBezTo>
                  <a:pt x="127" y="67"/>
                  <a:pt x="127" y="67"/>
                  <a:pt x="127" y="67"/>
                </a:cubicBezTo>
                <a:cubicBezTo>
                  <a:pt x="147" y="79"/>
                  <a:pt x="147" y="79"/>
                  <a:pt x="147" y="79"/>
                </a:cubicBezTo>
                <a:cubicBezTo>
                  <a:pt x="103" y="158"/>
                  <a:pt x="16" y="142"/>
                  <a:pt x="0" y="116"/>
                </a:cubicBezTo>
                <a:cubicBezTo>
                  <a:pt x="37" y="192"/>
                  <a:pt x="141" y="178"/>
                  <a:pt x="182" y="99"/>
                </a:cubicBezTo>
                <a:cubicBezTo>
                  <a:pt x="203" y="110"/>
                  <a:pt x="203" y="110"/>
                  <a:pt x="203" y="110"/>
                </a:cubicBezTo>
                <a:cubicBezTo>
                  <a:pt x="203" y="23"/>
                  <a:pt x="203" y="23"/>
                  <a:pt x="203" y="23"/>
                </a:cubicBezTo>
                <a:close/>
                <a:moveTo>
                  <a:pt x="185" y="114"/>
                </a:moveTo>
                <a:cubicBezTo>
                  <a:pt x="175" y="155"/>
                  <a:pt x="141" y="183"/>
                  <a:pt x="96" y="183"/>
                </a:cubicBezTo>
                <a:cubicBezTo>
                  <a:pt x="82" y="183"/>
                  <a:pt x="69" y="181"/>
                  <a:pt x="58" y="176"/>
                </a:cubicBezTo>
                <a:cubicBezTo>
                  <a:pt x="109" y="185"/>
                  <a:pt x="158" y="156"/>
                  <a:pt x="184" y="114"/>
                </a:cubicBezTo>
                <a:cubicBezTo>
                  <a:pt x="185" y="114"/>
                  <a:pt x="185" y="114"/>
                  <a:pt x="185" y="114"/>
                </a:cubicBezTo>
                <a:close/>
                <a:moveTo>
                  <a:pt x="102" y="13"/>
                </a:moveTo>
                <a:cubicBezTo>
                  <a:pt x="118" y="14"/>
                  <a:pt x="126" y="33"/>
                  <a:pt x="130" y="45"/>
                </a:cubicBezTo>
                <a:cubicBezTo>
                  <a:pt x="102" y="45"/>
                  <a:pt x="102" y="45"/>
                  <a:pt x="102" y="45"/>
                </a:cubicBezTo>
                <a:cubicBezTo>
                  <a:pt x="102" y="13"/>
                  <a:pt x="102" y="13"/>
                  <a:pt x="102" y="13"/>
                </a:cubicBezTo>
                <a:close/>
                <a:moveTo>
                  <a:pt x="16" y="87"/>
                </a:moveTo>
                <a:cubicBezTo>
                  <a:pt x="17" y="75"/>
                  <a:pt x="20" y="65"/>
                  <a:pt x="24" y="55"/>
                </a:cubicBezTo>
                <a:cubicBezTo>
                  <a:pt x="50" y="55"/>
                  <a:pt x="50" y="55"/>
                  <a:pt x="50" y="55"/>
                </a:cubicBezTo>
                <a:cubicBezTo>
                  <a:pt x="48" y="66"/>
                  <a:pt x="46" y="76"/>
                  <a:pt x="46" y="87"/>
                </a:cubicBezTo>
                <a:cubicBezTo>
                  <a:pt x="16" y="87"/>
                  <a:pt x="16" y="87"/>
                  <a:pt x="16" y="87"/>
                </a:cubicBezTo>
                <a:close/>
                <a:moveTo>
                  <a:pt x="30" y="45"/>
                </a:moveTo>
                <a:cubicBezTo>
                  <a:pt x="39" y="32"/>
                  <a:pt x="52" y="22"/>
                  <a:pt x="68" y="17"/>
                </a:cubicBezTo>
                <a:cubicBezTo>
                  <a:pt x="61" y="25"/>
                  <a:pt x="56" y="35"/>
                  <a:pt x="53" y="45"/>
                </a:cubicBezTo>
                <a:cubicBezTo>
                  <a:pt x="30" y="45"/>
                  <a:pt x="30" y="45"/>
                  <a:pt x="30" y="45"/>
                </a:cubicBezTo>
                <a:close/>
                <a:moveTo>
                  <a:pt x="92" y="12"/>
                </a:moveTo>
                <a:cubicBezTo>
                  <a:pt x="92" y="45"/>
                  <a:pt x="92" y="45"/>
                  <a:pt x="92" y="45"/>
                </a:cubicBezTo>
                <a:cubicBezTo>
                  <a:pt x="64" y="45"/>
                  <a:pt x="64" y="45"/>
                  <a:pt x="64" y="45"/>
                </a:cubicBezTo>
                <a:cubicBezTo>
                  <a:pt x="67" y="34"/>
                  <a:pt x="76" y="13"/>
                  <a:pt x="92" y="12"/>
                </a:cubicBezTo>
                <a:close/>
                <a:moveTo>
                  <a:pt x="92" y="87"/>
                </a:moveTo>
                <a:cubicBezTo>
                  <a:pt x="56" y="87"/>
                  <a:pt x="56" y="87"/>
                  <a:pt x="56" y="87"/>
                </a:cubicBezTo>
                <a:cubicBezTo>
                  <a:pt x="57" y="76"/>
                  <a:pt x="58" y="66"/>
                  <a:pt x="61" y="55"/>
                </a:cubicBezTo>
                <a:cubicBezTo>
                  <a:pt x="92" y="55"/>
                  <a:pt x="92" y="55"/>
                  <a:pt x="92" y="55"/>
                </a:cubicBezTo>
                <a:cubicBezTo>
                  <a:pt x="92" y="87"/>
                  <a:pt x="92" y="87"/>
                  <a:pt x="92" y="87"/>
                </a:cubicBezTo>
                <a:close/>
              </a:path>
            </a:pathLst>
          </a:custGeom>
          <a:solidFill>
            <a:srgbClr val="FF9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F5494"/>
              </a:solidFill>
            </a:endParaRPr>
          </a:p>
        </p:txBody>
      </p:sp>
      <p:grpSp>
        <p:nvGrpSpPr>
          <p:cNvPr id="140" name="Group 139"/>
          <p:cNvGrpSpPr/>
          <p:nvPr/>
        </p:nvGrpSpPr>
        <p:grpSpPr>
          <a:xfrm>
            <a:off x="5031015" y="3644440"/>
            <a:ext cx="679239" cy="362112"/>
            <a:chOff x="1483664" y="1421916"/>
            <a:chExt cx="903523" cy="559284"/>
          </a:xfrm>
        </p:grpSpPr>
        <p:grpSp>
          <p:nvGrpSpPr>
            <p:cNvPr id="141" name="Group 140"/>
            <p:cNvGrpSpPr/>
            <p:nvPr/>
          </p:nvGrpSpPr>
          <p:grpSpPr>
            <a:xfrm>
              <a:off x="1483664" y="1421916"/>
              <a:ext cx="585355" cy="402721"/>
              <a:chOff x="1929245" y="1295400"/>
              <a:chExt cx="585355" cy="402721"/>
            </a:xfrm>
          </p:grpSpPr>
          <p:sp>
            <p:nvSpPr>
              <p:cNvPr id="173" name="Rectangle 172"/>
              <p:cNvSpPr/>
              <p:nvPr/>
            </p:nvSpPr>
            <p:spPr>
              <a:xfrm>
                <a:off x="2057400" y="1295400"/>
                <a:ext cx="457200" cy="250321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FF99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 err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" name="Rectangle 173"/>
              <p:cNvSpPr/>
              <p:nvPr/>
            </p:nvSpPr>
            <p:spPr>
              <a:xfrm>
                <a:off x="1993322" y="1371600"/>
                <a:ext cx="457200" cy="250321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FF99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 err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1" name="Rectangle 180"/>
              <p:cNvSpPr/>
              <p:nvPr/>
            </p:nvSpPr>
            <p:spPr>
              <a:xfrm>
                <a:off x="1929245" y="1447800"/>
                <a:ext cx="457200" cy="250321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FF99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 err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2" name="Freeform 25"/>
              <p:cNvSpPr>
                <a:spLocks noChangeAspect="1" noEditPoints="1"/>
              </p:cNvSpPr>
              <p:nvPr/>
            </p:nvSpPr>
            <p:spPr bwMode="gray">
              <a:xfrm rot="21480000">
                <a:off x="2063740" y="1474523"/>
                <a:ext cx="188210" cy="196874"/>
              </a:xfrm>
              <a:custGeom>
                <a:avLst/>
                <a:gdLst/>
                <a:ahLst/>
                <a:cxnLst>
                  <a:cxn ang="0">
                    <a:pos x="95" y="0"/>
                  </a:cxn>
                  <a:cxn ang="0">
                    <a:pos x="190" y="95"/>
                  </a:cxn>
                  <a:cxn ang="0">
                    <a:pos x="95" y="189"/>
                  </a:cxn>
                  <a:cxn ang="0">
                    <a:pos x="0" y="95"/>
                  </a:cxn>
                  <a:cxn ang="0">
                    <a:pos x="95" y="0"/>
                  </a:cxn>
                  <a:cxn ang="0">
                    <a:pos x="95" y="13"/>
                  </a:cxn>
                  <a:cxn ang="0">
                    <a:pos x="177" y="95"/>
                  </a:cxn>
                  <a:cxn ang="0">
                    <a:pos x="95" y="176"/>
                  </a:cxn>
                  <a:cxn ang="0">
                    <a:pos x="13" y="95"/>
                  </a:cxn>
                  <a:cxn ang="0">
                    <a:pos x="95" y="13"/>
                  </a:cxn>
                  <a:cxn ang="0">
                    <a:pos x="136" y="148"/>
                  </a:cxn>
                  <a:cxn ang="0">
                    <a:pos x="132" y="132"/>
                  </a:cxn>
                  <a:cxn ang="0">
                    <a:pos x="75" y="114"/>
                  </a:cxn>
                  <a:cxn ang="0">
                    <a:pos x="116" y="114"/>
                  </a:cxn>
                  <a:cxn ang="0">
                    <a:pos x="120" y="99"/>
                  </a:cxn>
                  <a:cxn ang="0">
                    <a:pos x="72" y="99"/>
                  </a:cxn>
                  <a:cxn ang="0">
                    <a:pos x="72" y="90"/>
                  </a:cxn>
                  <a:cxn ang="0">
                    <a:pos x="123" y="90"/>
                  </a:cxn>
                  <a:cxn ang="0">
                    <a:pos x="127" y="76"/>
                  </a:cxn>
                  <a:cxn ang="0">
                    <a:pos x="75" y="76"/>
                  </a:cxn>
                  <a:cxn ang="0">
                    <a:pos x="132" y="57"/>
                  </a:cxn>
                  <a:cxn ang="0">
                    <a:pos x="136" y="41"/>
                  </a:cxn>
                  <a:cxn ang="0">
                    <a:pos x="48" y="76"/>
                  </a:cxn>
                  <a:cxn ang="0">
                    <a:pos x="31" y="76"/>
                  </a:cxn>
                  <a:cxn ang="0">
                    <a:pos x="31" y="90"/>
                  </a:cxn>
                  <a:cxn ang="0">
                    <a:pos x="46" y="90"/>
                  </a:cxn>
                  <a:cxn ang="0">
                    <a:pos x="46" y="99"/>
                  </a:cxn>
                  <a:cxn ang="0">
                    <a:pos x="31" y="99"/>
                  </a:cxn>
                  <a:cxn ang="0">
                    <a:pos x="31" y="114"/>
                  </a:cxn>
                  <a:cxn ang="0">
                    <a:pos x="48" y="114"/>
                  </a:cxn>
                  <a:cxn ang="0">
                    <a:pos x="136" y="148"/>
                  </a:cxn>
                </a:cxnLst>
                <a:rect l="0" t="0" r="r" b="b"/>
                <a:pathLst>
                  <a:path w="190" h="189">
                    <a:moveTo>
                      <a:pt x="95" y="0"/>
                    </a:moveTo>
                    <a:cubicBezTo>
                      <a:pt x="147" y="0"/>
                      <a:pt x="190" y="42"/>
                      <a:pt x="190" y="95"/>
                    </a:cubicBezTo>
                    <a:cubicBezTo>
                      <a:pt x="190" y="147"/>
                      <a:pt x="147" y="189"/>
                      <a:pt x="95" y="189"/>
                    </a:cubicBezTo>
                    <a:cubicBezTo>
                      <a:pt x="43" y="189"/>
                      <a:pt x="0" y="147"/>
                      <a:pt x="0" y="95"/>
                    </a:cubicBezTo>
                    <a:cubicBezTo>
                      <a:pt x="0" y="42"/>
                      <a:pt x="43" y="0"/>
                      <a:pt x="95" y="0"/>
                    </a:cubicBezTo>
                    <a:close/>
                    <a:moveTo>
                      <a:pt x="95" y="13"/>
                    </a:moveTo>
                    <a:cubicBezTo>
                      <a:pt x="140" y="13"/>
                      <a:pt x="177" y="49"/>
                      <a:pt x="177" y="95"/>
                    </a:cubicBezTo>
                    <a:cubicBezTo>
                      <a:pt x="177" y="140"/>
                      <a:pt x="140" y="176"/>
                      <a:pt x="95" y="176"/>
                    </a:cubicBezTo>
                    <a:cubicBezTo>
                      <a:pt x="50" y="176"/>
                      <a:pt x="13" y="140"/>
                      <a:pt x="13" y="95"/>
                    </a:cubicBezTo>
                    <a:cubicBezTo>
                      <a:pt x="13" y="49"/>
                      <a:pt x="50" y="13"/>
                      <a:pt x="95" y="13"/>
                    </a:cubicBezTo>
                    <a:close/>
                    <a:moveTo>
                      <a:pt x="136" y="148"/>
                    </a:moveTo>
                    <a:cubicBezTo>
                      <a:pt x="132" y="132"/>
                      <a:pt x="132" y="132"/>
                      <a:pt x="132" y="132"/>
                    </a:cubicBezTo>
                    <a:cubicBezTo>
                      <a:pt x="111" y="140"/>
                      <a:pt x="84" y="137"/>
                      <a:pt x="75" y="114"/>
                    </a:cubicBezTo>
                    <a:cubicBezTo>
                      <a:pt x="116" y="114"/>
                      <a:pt x="116" y="114"/>
                      <a:pt x="116" y="114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72" y="99"/>
                      <a:pt x="72" y="99"/>
                      <a:pt x="72" y="99"/>
                    </a:cubicBezTo>
                    <a:cubicBezTo>
                      <a:pt x="72" y="96"/>
                      <a:pt x="72" y="93"/>
                      <a:pt x="72" y="90"/>
                    </a:cubicBezTo>
                    <a:cubicBezTo>
                      <a:pt x="123" y="90"/>
                      <a:pt x="123" y="90"/>
                      <a:pt x="123" y="90"/>
                    </a:cubicBezTo>
                    <a:cubicBezTo>
                      <a:pt x="127" y="76"/>
                      <a:pt x="127" y="76"/>
                      <a:pt x="127" y="76"/>
                    </a:cubicBezTo>
                    <a:cubicBezTo>
                      <a:pt x="75" y="76"/>
                      <a:pt x="75" y="76"/>
                      <a:pt x="75" y="76"/>
                    </a:cubicBezTo>
                    <a:cubicBezTo>
                      <a:pt x="85" y="52"/>
                      <a:pt x="111" y="49"/>
                      <a:pt x="132" y="57"/>
                    </a:cubicBezTo>
                    <a:cubicBezTo>
                      <a:pt x="133" y="52"/>
                      <a:pt x="135" y="46"/>
                      <a:pt x="136" y="41"/>
                    </a:cubicBezTo>
                    <a:cubicBezTo>
                      <a:pt x="103" y="24"/>
                      <a:pt x="58" y="33"/>
                      <a:pt x="48" y="76"/>
                    </a:cubicBezTo>
                    <a:cubicBezTo>
                      <a:pt x="31" y="76"/>
                      <a:pt x="31" y="76"/>
                      <a:pt x="31" y="76"/>
                    </a:cubicBezTo>
                    <a:cubicBezTo>
                      <a:pt x="31" y="90"/>
                      <a:pt x="31" y="90"/>
                      <a:pt x="31" y="90"/>
                    </a:cubicBezTo>
                    <a:cubicBezTo>
                      <a:pt x="46" y="90"/>
                      <a:pt x="46" y="90"/>
                      <a:pt x="46" y="90"/>
                    </a:cubicBezTo>
                    <a:cubicBezTo>
                      <a:pt x="46" y="93"/>
                      <a:pt x="46" y="96"/>
                      <a:pt x="46" y="99"/>
                    </a:cubicBezTo>
                    <a:cubicBezTo>
                      <a:pt x="31" y="99"/>
                      <a:pt x="31" y="99"/>
                      <a:pt x="31" y="99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48" y="114"/>
                      <a:pt x="48" y="114"/>
                      <a:pt x="48" y="114"/>
                    </a:cubicBezTo>
                    <a:cubicBezTo>
                      <a:pt x="58" y="157"/>
                      <a:pt x="104" y="165"/>
                      <a:pt x="136" y="148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F5494"/>
                  </a:solidFill>
                </a:endParaRPr>
              </a:p>
            </p:txBody>
          </p:sp>
        </p:grpSp>
        <p:grpSp>
          <p:nvGrpSpPr>
            <p:cNvPr id="157" name="Group 156"/>
            <p:cNvGrpSpPr/>
            <p:nvPr/>
          </p:nvGrpSpPr>
          <p:grpSpPr>
            <a:xfrm>
              <a:off x="1905000" y="1601177"/>
              <a:ext cx="482187" cy="380023"/>
              <a:chOff x="4846358" y="1518821"/>
              <a:chExt cx="482187" cy="380023"/>
            </a:xfrm>
          </p:grpSpPr>
          <p:sp>
            <p:nvSpPr>
              <p:cNvPr id="158" name="Freeform 146"/>
              <p:cNvSpPr>
                <a:spLocks noChangeAspect="1" noEditPoints="1"/>
              </p:cNvSpPr>
              <p:nvPr/>
            </p:nvSpPr>
            <p:spPr bwMode="gray">
              <a:xfrm>
                <a:off x="4846358" y="1518821"/>
                <a:ext cx="243178" cy="305816"/>
              </a:xfrm>
              <a:custGeom>
                <a:avLst/>
                <a:gdLst>
                  <a:gd name="T0" fmla="*/ 486 w 972"/>
                  <a:gd name="T1" fmla="*/ 0 h 1222"/>
                  <a:gd name="T2" fmla="*/ 486 w 972"/>
                  <a:gd name="T3" fmla="*/ 0 h 1222"/>
                  <a:gd name="T4" fmla="*/ 0 w 972"/>
                  <a:gd name="T5" fmla="*/ 183 h 1222"/>
                  <a:gd name="T6" fmla="*/ 0 w 972"/>
                  <a:gd name="T7" fmla="*/ 270 h 1222"/>
                  <a:gd name="T8" fmla="*/ 486 w 972"/>
                  <a:gd name="T9" fmla="*/ 464 h 1222"/>
                  <a:gd name="T10" fmla="*/ 972 w 972"/>
                  <a:gd name="T11" fmla="*/ 270 h 1222"/>
                  <a:gd name="T12" fmla="*/ 972 w 972"/>
                  <a:gd name="T13" fmla="*/ 183 h 1222"/>
                  <a:gd name="T14" fmla="*/ 486 w 972"/>
                  <a:gd name="T15" fmla="*/ 0 h 1222"/>
                  <a:gd name="T16" fmla="*/ 486 w 972"/>
                  <a:gd name="T17" fmla="*/ 0 h 1222"/>
                  <a:gd name="T18" fmla="*/ 954 w 972"/>
                  <a:gd name="T19" fmla="*/ 453 h 1222"/>
                  <a:gd name="T20" fmla="*/ 954 w 972"/>
                  <a:gd name="T21" fmla="*/ 453 h 1222"/>
                  <a:gd name="T22" fmla="*/ 486 w 972"/>
                  <a:gd name="T23" fmla="*/ 598 h 1222"/>
                  <a:gd name="T24" fmla="*/ 18 w 972"/>
                  <a:gd name="T25" fmla="*/ 453 h 1222"/>
                  <a:gd name="T26" fmla="*/ 0 w 972"/>
                  <a:gd name="T27" fmla="*/ 453 h 1222"/>
                  <a:gd name="T28" fmla="*/ 0 w 972"/>
                  <a:gd name="T29" fmla="*/ 616 h 1222"/>
                  <a:gd name="T30" fmla="*/ 486 w 972"/>
                  <a:gd name="T31" fmla="*/ 838 h 1222"/>
                  <a:gd name="T32" fmla="*/ 972 w 972"/>
                  <a:gd name="T33" fmla="*/ 616 h 1222"/>
                  <a:gd name="T34" fmla="*/ 972 w 972"/>
                  <a:gd name="T35" fmla="*/ 453 h 1222"/>
                  <a:gd name="T36" fmla="*/ 954 w 972"/>
                  <a:gd name="T37" fmla="*/ 453 h 1222"/>
                  <a:gd name="T38" fmla="*/ 954 w 972"/>
                  <a:gd name="T39" fmla="*/ 453 h 1222"/>
                  <a:gd name="T40" fmla="*/ 953 w 972"/>
                  <a:gd name="T41" fmla="*/ 808 h 1222"/>
                  <a:gd name="T42" fmla="*/ 953 w 972"/>
                  <a:gd name="T43" fmla="*/ 808 h 1222"/>
                  <a:gd name="T44" fmla="*/ 486 w 972"/>
                  <a:gd name="T45" fmla="*/ 972 h 1222"/>
                  <a:gd name="T46" fmla="*/ 19 w 972"/>
                  <a:gd name="T47" fmla="*/ 808 h 1222"/>
                  <a:gd name="T48" fmla="*/ 0 w 972"/>
                  <a:gd name="T49" fmla="*/ 809 h 1222"/>
                  <a:gd name="T50" fmla="*/ 0 w 972"/>
                  <a:gd name="T51" fmla="*/ 948 h 1222"/>
                  <a:gd name="T52" fmla="*/ 486 w 972"/>
                  <a:gd name="T53" fmla="*/ 1222 h 1222"/>
                  <a:gd name="T54" fmla="*/ 972 w 972"/>
                  <a:gd name="T55" fmla="*/ 948 h 1222"/>
                  <a:gd name="T56" fmla="*/ 972 w 972"/>
                  <a:gd name="T57" fmla="*/ 809 h 1222"/>
                  <a:gd name="T58" fmla="*/ 953 w 972"/>
                  <a:gd name="T59" fmla="*/ 808 h 1222"/>
                  <a:gd name="T60" fmla="*/ 953 w 972"/>
                  <a:gd name="T61" fmla="*/ 808 h 1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72" h="1222">
                    <a:moveTo>
                      <a:pt x="486" y="0"/>
                    </a:moveTo>
                    <a:lnTo>
                      <a:pt x="486" y="0"/>
                    </a:lnTo>
                    <a:cubicBezTo>
                      <a:pt x="217" y="0"/>
                      <a:pt x="0" y="82"/>
                      <a:pt x="0" y="183"/>
                    </a:cubicBezTo>
                    <a:lnTo>
                      <a:pt x="0" y="270"/>
                    </a:lnTo>
                    <a:cubicBezTo>
                      <a:pt x="0" y="377"/>
                      <a:pt x="217" y="464"/>
                      <a:pt x="486" y="464"/>
                    </a:cubicBezTo>
                    <a:cubicBezTo>
                      <a:pt x="754" y="464"/>
                      <a:pt x="972" y="377"/>
                      <a:pt x="972" y="270"/>
                    </a:cubicBezTo>
                    <a:lnTo>
                      <a:pt x="972" y="183"/>
                    </a:lnTo>
                    <a:cubicBezTo>
                      <a:pt x="972" y="82"/>
                      <a:pt x="754" y="0"/>
                      <a:pt x="486" y="0"/>
                    </a:cubicBezTo>
                    <a:lnTo>
                      <a:pt x="486" y="0"/>
                    </a:lnTo>
                    <a:close/>
                    <a:moveTo>
                      <a:pt x="954" y="453"/>
                    </a:moveTo>
                    <a:lnTo>
                      <a:pt x="954" y="453"/>
                    </a:lnTo>
                    <a:cubicBezTo>
                      <a:pt x="896" y="537"/>
                      <a:pt x="708" y="598"/>
                      <a:pt x="486" y="598"/>
                    </a:cubicBezTo>
                    <a:cubicBezTo>
                      <a:pt x="263" y="598"/>
                      <a:pt x="76" y="537"/>
                      <a:pt x="18" y="453"/>
                    </a:cubicBezTo>
                    <a:cubicBezTo>
                      <a:pt x="6" y="436"/>
                      <a:pt x="0" y="445"/>
                      <a:pt x="0" y="453"/>
                    </a:cubicBezTo>
                    <a:cubicBezTo>
                      <a:pt x="0" y="461"/>
                      <a:pt x="0" y="616"/>
                      <a:pt x="0" y="616"/>
                    </a:cubicBezTo>
                    <a:cubicBezTo>
                      <a:pt x="0" y="739"/>
                      <a:pt x="217" y="838"/>
                      <a:pt x="486" y="838"/>
                    </a:cubicBezTo>
                    <a:cubicBezTo>
                      <a:pt x="754" y="838"/>
                      <a:pt x="972" y="739"/>
                      <a:pt x="972" y="616"/>
                    </a:cubicBezTo>
                    <a:cubicBezTo>
                      <a:pt x="972" y="616"/>
                      <a:pt x="972" y="461"/>
                      <a:pt x="972" y="453"/>
                    </a:cubicBezTo>
                    <a:cubicBezTo>
                      <a:pt x="972" y="445"/>
                      <a:pt x="966" y="436"/>
                      <a:pt x="954" y="453"/>
                    </a:cubicBezTo>
                    <a:lnTo>
                      <a:pt x="954" y="453"/>
                    </a:lnTo>
                    <a:close/>
                    <a:moveTo>
                      <a:pt x="953" y="808"/>
                    </a:moveTo>
                    <a:lnTo>
                      <a:pt x="953" y="808"/>
                    </a:lnTo>
                    <a:cubicBezTo>
                      <a:pt x="894" y="903"/>
                      <a:pt x="708" y="972"/>
                      <a:pt x="486" y="972"/>
                    </a:cubicBezTo>
                    <a:cubicBezTo>
                      <a:pt x="264" y="972"/>
                      <a:pt x="77" y="903"/>
                      <a:pt x="19" y="808"/>
                    </a:cubicBezTo>
                    <a:cubicBezTo>
                      <a:pt x="6" y="788"/>
                      <a:pt x="0" y="799"/>
                      <a:pt x="0" y="809"/>
                    </a:cubicBezTo>
                    <a:cubicBezTo>
                      <a:pt x="0" y="819"/>
                      <a:pt x="0" y="948"/>
                      <a:pt x="0" y="948"/>
                    </a:cubicBezTo>
                    <a:cubicBezTo>
                      <a:pt x="0" y="1082"/>
                      <a:pt x="217" y="1222"/>
                      <a:pt x="486" y="1222"/>
                    </a:cubicBezTo>
                    <a:cubicBezTo>
                      <a:pt x="754" y="1222"/>
                      <a:pt x="972" y="1082"/>
                      <a:pt x="972" y="948"/>
                    </a:cubicBezTo>
                    <a:cubicBezTo>
                      <a:pt x="972" y="948"/>
                      <a:pt x="972" y="819"/>
                      <a:pt x="972" y="809"/>
                    </a:cubicBezTo>
                    <a:cubicBezTo>
                      <a:pt x="972" y="799"/>
                      <a:pt x="965" y="788"/>
                      <a:pt x="953" y="808"/>
                    </a:cubicBezTo>
                    <a:lnTo>
                      <a:pt x="953" y="808"/>
                    </a:lnTo>
                    <a:close/>
                  </a:path>
                </a:pathLst>
              </a:custGeom>
              <a:solidFill>
                <a:srgbClr val="FF9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F5494"/>
                  </a:solidFill>
                </a:endParaRPr>
              </a:p>
            </p:txBody>
          </p:sp>
          <p:sp>
            <p:nvSpPr>
              <p:cNvPr id="159" name="Oval 158"/>
              <p:cNvSpPr/>
              <p:nvPr/>
            </p:nvSpPr>
            <p:spPr>
              <a:xfrm>
                <a:off x="5000064" y="1606979"/>
                <a:ext cx="274320" cy="2743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 err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Freeform 25"/>
              <p:cNvSpPr>
                <a:spLocks noChangeAspect="1" noEditPoints="1"/>
              </p:cNvSpPr>
              <p:nvPr/>
            </p:nvSpPr>
            <p:spPr bwMode="gray">
              <a:xfrm>
                <a:off x="5035375" y="1606979"/>
                <a:ext cx="293170" cy="291865"/>
              </a:xfrm>
              <a:custGeom>
                <a:avLst/>
                <a:gdLst/>
                <a:ahLst/>
                <a:cxnLst>
                  <a:cxn ang="0">
                    <a:pos x="95" y="0"/>
                  </a:cxn>
                  <a:cxn ang="0">
                    <a:pos x="190" y="95"/>
                  </a:cxn>
                  <a:cxn ang="0">
                    <a:pos x="95" y="189"/>
                  </a:cxn>
                  <a:cxn ang="0">
                    <a:pos x="0" y="95"/>
                  </a:cxn>
                  <a:cxn ang="0">
                    <a:pos x="95" y="0"/>
                  </a:cxn>
                  <a:cxn ang="0">
                    <a:pos x="95" y="13"/>
                  </a:cxn>
                  <a:cxn ang="0">
                    <a:pos x="177" y="95"/>
                  </a:cxn>
                  <a:cxn ang="0">
                    <a:pos x="95" y="176"/>
                  </a:cxn>
                  <a:cxn ang="0">
                    <a:pos x="13" y="95"/>
                  </a:cxn>
                  <a:cxn ang="0">
                    <a:pos x="95" y="13"/>
                  </a:cxn>
                  <a:cxn ang="0">
                    <a:pos x="136" y="148"/>
                  </a:cxn>
                  <a:cxn ang="0">
                    <a:pos x="132" y="132"/>
                  </a:cxn>
                  <a:cxn ang="0">
                    <a:pos x="75" y="114"/>
                  </a:cxn>
                  <a:cxn ang="0">
                    <a:pos x="116" y="114"/>
                  </a:cxn>
                  <a:cxn ang="0">
                    <a:pos x="120" y="99"/>
                  </a:cxn>
                  <a:cxn ang="0">
                    <a:pos x="72" y="99"/>
                  </a:cxn>
                  <a:cxn ang="0">
                    <a:pos x="72" y="90"/>
                  </a:cxn>
                  <a:cxn ang="0">
                    <a:pos x="123" y="90"/>
                  </a:cxn>
                  <a:cxn ang="0">
                    <a:pos x="127" y="76"/>
                  </a:cxn>
                  <a:cxn ang="0">
                    <a:pos x="75" y="76"/>
                  </a:cxn>
                  <a:cxn ang="0">
                    <a:pos x="132" y="57"/>
                  </a:cxn>
                  <a:cxn ang="0">
                    <a:pos x="136" y="41"/>
                  </a:cxn>
                  <a:cxn ang="0">
                    <a:pos x="48" y="76"/>
                  </a:cxn>
                  <a:cxn ang="0">
                    <a:pos x="31" y="76"/>
                  </a:cxn>
                  <a:cxn ang="0">
                    <a:pos x="31" y="90"/>
                  </a:cxn>
                  <a:cxn ang="0">
                    <a:pos x="46" y="90"/>
                  </a:cxn>
                  <a:cxn ang="0">
                    <a:pos x="46" y="99"/>
                  </a:cxn>
                  <a:cxn ang="0">
                    <a:pos x="31" y="99"/>
                  </a:cxn>
                  <a:cxn ang="0">
                    <a:pos x="31" y="114"/>
                  </a:cxn>
                  <a:cxn ang="0">
                    <a:pos x="48" y="114"/>
                  </a:cxn>
                  <a:cxn ang="0">
                    <a:pos x="136" y="148"/>
                  </a:cxn>
                </a:cxnLst>
                <a:rect l="0" t="0" r="r" b="b"/>
                <a:pathLst>
                  <a:path w="190" h="189">
                    <a:moveTo>
                      <a:pt x="95" y="0"/>
                    </a:moveTo>
                    <a:cubicBezTo>
                      <a:pt x="147" y="0"/>
                      <a:pt x="190" y="42"/>
                      <a:pt x="190" y="95"/>
                    </a:cubicBezTo>
                    <a:cubicBezTo>
                      <a:pt x="190" y="147"/>
                      <a:pt x="147" y="189"/>
                      <a:pt x="95" y="189"/>
                    </a:cubicBezTo>
                    <a:cubicBezTo>
                      <a:pt x="43" y="189"/>
                      <a:pt x="0" y="147"/>
                      <a:pt x="0" y="95"/>
                    </a:cubicBezTo>
                    <a:cubicBezTo>
                      <a:pt x="0" y="42"/>
                      <a:pt x="43" y="0"/>
                      <a:pt x="95" y="0"/>
                    </a:cubicBezTo>
                    <a:close/>
                    <a:moveTo>
                      <a:pt x="95" y="13"/>
                    </a:moveTo>
                    <a:cubicBezTo>
                      <a:pt x="140" y="13"/>
                      <a:pt x="177" y="49"/>
                      <a:pt x="177" y="95"/>
                    </a:cubicBezTo>
                    <a:cubicBezTo>
                      <a:pt x="177" y="140"/>
                      <a:pt x="140" y="176"/>
                      <a:pt x="95" y="176"/>
                    </a:cubicBezTo>
                    <a:cubicBezTo>
                      <a:pt x="50" y="176"/>
                      <a:pt x="13" y="140"/>
                      <a:pt x="13" y="95"/>
                    </a:cubicBezTo>
                    <a:cubicBezTo>
                      <a:pt x="13" y="49"/>
                      <a:pt x="50" y="13"/>
                      <a:pt x="95" y="13"/>
                    </a:cubicBezTo>
                    <a:close/>
                    <a:moveTo>
                      <a:pt x="136" y="148"/>
                    </a:moveTo>
                    <a:cubicBezTo>
                      <a:pt x="132" y="132"/>
                      <a:pt x="132" y="132"/>
                      <a:pt x="132" y="132"/>
                    </a:cubicBezTo>
                    <a:cubicBezTo>
                      <a:pt x="111" y="140"/>
                      <a:pt x="84" y="137"/>
                      <a:pt x="75" y="114"/>
                    </a:cubicBezTo>
                    <a:cubicBezTo>
                      <a:pt x="116" y="114"/>
                      <a:pt x="116" y="114"/>
                      <a:pt x="116" y="114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72" y="99"/>
                      <a:pt x="72" y="99"/>
                      <a:pt x="72" y="99"/>
                    </a:cubicBezTo>
                    <a:cubicBezTo>
                      <a:pt x="72" y="96"/>
                      <a:pt x="72" y="93"/>
                      <a:pt x="72" y="90"/>
                    </a:cubicBezTo>
                    <a:cubicBezTo>
                      <a:pt x="123" y="90"/>
                      <a:pt x="123" y="90"/>
                      <a:pt x="123" y="90"/>
                    </a:cubicBezTo>
                    <a:cubicBezTo>
                      <a:pt x="127" y="76"/>
                      <a:pt x="127" y="76"/>
                      <a:pt x="127" y="76"/>
                    </a:cubicBezTo>
                    <a:cubicBezTo>
                      <a:pt x="75" y="76"/>
                      <a:pt x="75" y="76"/>
                      <a:pt x="75" y="76"/>
                    </a:cubicBezTo>
                    <a:cubicBezTo>
                      <a:pt x="85" y="52"/>
                      <a:pt x="111" y="49"/>
                      <a:pt x="132" y="57"/>
                    </a:cubicBezTo>
                    <a:cubicBezTo>
                      <a:pt x="133" y="52"/>
                      <a:pt x="135" y="46"/>
                      <a:pt x="136" y="41"/>
                    </a:cubicBezTo>
                    <a:cubicBezTo>
                      <a:pt x="103" y="24"/>
                      <a:pt x="58" y="33"/>
                      <a:pt x="48" y="76"/>
                    </a:cubicBezTo>
                    <a:cubicBezTo>
                      <a:pt x="31" y="76"/>
                      <a:pt x="31" y="76"/>
                      <a:pt x="31" y="76"/>
                    </a:cubicBezTo>
                    <a:cubicBezTo>
                      <a:pt x="31" y="90"/>
                      <a:pt x="31" y="90"/>
                      <a:pt x="31" y="90"/>
                    </a:cubicBezTo>
                    <a:cubicBezTo>
                      <a:pt x="46" y="90"/>
                      <a:pt x="46" y="90"/>
                      <a:pt x="46" y="90"/>
                    </a:cubicBezTo>
                    <a:cubicBezTo>
                      <a:pt x="46" y="93"/>
                      <a:pt x="46" y="96"/>
                      <a:pt x="46" y="99"/>
                    </a:cubicBezTo>
                    <a:cubicBezTo>
                      <a:pt x="31" y="99"/>
                      <a:pt x="31" y="99"/>
                      <a:pt x="31" y="99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48" y="114"/>
                      <a:pt x="48" y="114"/>
                      <a:pt x="48" y="114"/>
                    </a:cubicBezTo>
                    <a:cubicBezTo>
                      <a:pt x="58" y="157"/>
                      <a:pt x="104" y="165"/>
                      <a:pt x="136" y="148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F5494"/>
                  </a:solidFill>
                </a:endParaRPr>
              </a:p>
            </p:txBody>
          </p:sp>
        </p:grpSp>
      </p:grpSp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217803"/>
            <a:ext cx="9144000" cy="534797"/>
          </a:xfrm>
        </p:spPr>
        <p:txBody>
          <a:bodyPr/>
          <a:lstStyle/>
          <a:p>
            <a:r>
              <a:rPr lang="en-GB" sz="2400" dirty="0" smtClean="0"/>
              <a:t/>
            </a:r>
            <a:br>
              <a:rPr lang="en-GB" sz="2400" dirty="0" smtClean="0"/>
            </a:br>
            <a:r>
              <a:rPr lang="en-GB" sz="2400" dirty="0" smtClean="0"/>
              <a:t>Process Overview </a:t>
            </a:r>
            <a:r>
              <a:rPr lang="en-GB" sz="2400" dirty="0"/>
              <a:t>with </a:t>
            </a:r>
            <a:r>
              <a:rPr lang="en-GB" sz="2400" dirty="0" err="1" smtClean="0"/>
              <a:t>OpSys</a:t>
            </a:r>
            <a:r>
              <a:rPr lang="en-GB" sz="2400" dirty="0" smtClean="0"/>
              <a:t> positioning</a:t>
            </a:r>
            <a:endParaRPr lang="en-GB" sz="2400" dirty="0"/>
          </a:p>
        </p:txBody>
      </p:sp>
      <p:grpSp>
        <p:nvGrpSpPr>
          <p:cNvPr id="33" name="Group 32"/>
          <p:cNvGrpSpPr/>
          <p:nvPr/>
        </p:nvGrpSpPr>
        <p:grpSpPr>
          <a:xfrm>
            <a:off x="6189192" y="2715718"/>
            <a:ext cx="1883371" cy="635607"/>
            <a:chOff x="6189192" y="2715718"/>
            <a:chExt cx="1883371" cy="635607"/>
          </a:xfrm>
        </p:grpSpPr>
        <p:sp>
          <p:nvSpPr>
            <p:cNvPr id="83" name="Line Callout 1 (No Border) 82"/>
            <p:cNvSpPr/>
            <p:nvPr/>
          </p:nvSpPr>
          <p:spPr>
            <a:xfrm>
              <a:off x="6708697" y="2715718"/>
              <a:ext cx="1114288" cy="319594"/>
            </a:xfrm>
            <a:prstGeom prst="callout1">
              <a:avLst>
                <a:gd name="adj1" fmla="val 117380"/>
                <a:gd name="adj2" fmla="val 43762"/>
                <a:gd name="adj3" fmla="val 226960"/>
                <a:gd name="adj4" fmla="val 37789"/>
              </a:avLst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92" b="1" kern="0" dirty="0" smtClean="0">
                  <a:solidFill>
                    <a:srgbClr val="FFFFFF">
                      <a:lumMod val="50000"/>
                    </a:srgbClr>
                  </a:solidFill>
                </a:rPr>
                <a:t>Achieved Results</a:t>
              </a:r>
              <a:endParaRPr lang="en-GB" sz="1292" b="1" kern="0" dirty="0">
                <a:solidFill>
                  <a:srgbClr val="FFFFFF">
                    <a:lumMod val="50000"/>
                  </a:srgbClr>
                </a:solidFill>
              </a:endParaRPr>
            </a:p>
          </p:txBody>
        </p:sp>
        <p:sp>
          <p:nvSpPr>
            <p:cNvPr id="162" name="Freeform 177"/>
            <p:cNvSpPr>
              <a:spLocks/>
            </p:cNvSpPr>
            <p:nvPr/>
          </p:nvSpPr>
          <p:spPr bwMode="gray">
            <a:xfrm>
              <a:off x="7767168" y="2764213"/>
              <a:ext cx="216626" cy="291745"/>
            </a:xfrm>
            <a:custGeom>
              <a:avLst/>
              <a:gdLst>
                <a:gd name="T0" fmla="*/ 157 w 157"/>
                <a:gd name="T1" fmla="*/ 44 h 211"/>
                <a:gd name="T2" fmla="*/ 70 w 157"/>
                <a:gd name="T3" fmla="*/ 35 h 211"/>
                <a:gd name="T4" fmla="*/ 17 w 157"/>
                <a:gd name="T5" fmla="*/ 18 h 211"/>
                <a:gd name="T6" fmla="*/ 17 w 157"/>
                <a:gd name="T7" fmla="*/ 0 h 211"/>
                <a:gd name="T8" fmla="*/ 0 w 157"/>
                <a:gd name="T9" fmla="*/ 0 h 211"/>
                <a:gd name="T10" fmla="*/ 0 w 157"/>
                <a:gd name="T11" fmla="*/ 211 h 211"/>
                <a:gd name="T12" fmla="*/ 17 w 157"/>
                <a:gd name="T13" fmla="*/ 211 h 211"/>
                <a:gd name="T14" fmla="*/ 17 w 157"/>
                <a:gd name="T15" fmla="*/ 105 h 211"/>
                <a:gd name="T16" fmla="*/ 70 w 157"/>
                <a:gd name="T17" fmla="*/ 123 h 211"/>
                <a:gd name="T18" fmla="*/ 157 w 157"/>
                <a:gd name="T19" fmla="*/ 132 h 211"/>
                <a:gd name="T20" fmla="*/ 131 w 157"/>
                <a:gd name="T21" fmla="*/ 88 h 211"/>
                <a:gd name="T22" fmla="*/ 157 w 157"/>
                <a:gd name="T23" fmla="*/ 4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7" h="211">
                  <a:moveTo>
                    <a:pt x="157" y="44"/>
                  </a:moveTo>
                  <a:cubicBezTo>
                    <a:pt x="157" y="44"/>
                    <a:pt x="105" y="35"/>
                    <a:pt x="70" y="35"/>
                  </a:cubicBezTo>
                  <a:cubicBezTo>
                    <a:pt x="35" y="35"/>
                    <a:pt x="17" y="18"/>
                    <a:pt x="17" y="1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17" y="211"/>
                    <a:pt x="17" y="211"/>
                    <a:pt x="17" y="211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7" y="105"/>
                    <a:pt x="35" y="123"/>
                    <a:pt x="70" y="123"/>
                  </a:cubicBezTo>
                  <a:cubicBezTo>
                    <a:pt x="105" y="123"/>
                    <a:pt x="157" y="132"/>
                    <a:pt x="157" y="132"/>
                  </a:cubicBezTo>
                  <a:cubicBezTo>
                    <a:pt x="131" y="88"/>
                    <a:pt x="131" y="88"/>
                    <a:pt x="131" y="88"/>
                  </a:cubicBezTo>
                  <a:lnTo>
                    <a:pt x="157" y="4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108" dirty="0">
                <a:solidFill>
                  <a:srgbClr val="0F5494"/>
                </a:solidFill>
              </a:endParaRPr>
            </a:p>
          </p:txBody>
        </p:sp>
        <p:sp>
          <p:nvSpPr>
            <p:cNvPr id="118" name="Isosceles Triangle 117"/>
            <p:cNvSpPr/>
            <p:nvPr/>
          </p:nvSpPr>
          <p:spPr>
            <a:xfrm>
              <a:off x="6189192" y="3056213"/>
              <a:ext cx="1883371" cy="295112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1019657" y="4593676"/>
            <a:ext cx="1026887" cy="396473"/>
            <a:chOff x="1019657" y="4593676"/>
            <a:chExt cx="1026887" cy="396473"/>
          </a:xfrm>
        </p:grpSpPr>
        <p:sp>
          <p:nvSpPr>
            <p:cNvPr id="111" name="Isosceles Triangle 110"/>
            <p:cNvSpPr/>
            <p:nvPr/>
          </p:nvSpPr>
          <p:spPr>
            <a:xfrm rot="10800000">
              <a:off x="1267844" y="4593676"/>
              <a:ext cx="543860" cy="123835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 smtClean="0">
                <a:solidFill>
                  <a:srgbClr val="000000"/>
                </a:solidFill>
              </a:endParaRPr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1019657" y="4646726"/>
              <a:ext cx="1026887" cy="343423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900" b="1" i="1" kern="0" dirty="0" smtClean="0">
                  <a:solidFill>
                    <a:srgbClr val="FFFFFF">
                      <a:lumMod val="50000"/>
                    </a:srgbClr>
                  </a:solidFill>
                </a:rPr>
                <a:t>Instrument</a:t>
              </a:r>
              <a:endParaRPr lang="en-GB" sz="900" b="1" i="1" kern="0" dirty="0">
                <a:solidFill>
                  <a:srgbClr val="FFFFFF">
                    <a:lumMod val="50000"/>
                  </a:srgbClr>
                </a:solidFill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710602" y="2803132"/>
            <a:ext cx="2342213" cy="548193"/>
            <a:chOff x="3710602" y="2803132"/>
            <a:chExt cx="2342213" cy="548193"/>
          </a:xfrm>
        </p:grpSpPr>
        <p:sp>
          <p:nvSpPr>
            <p:cNvPr id="119" name="Isosceles Triangle 118"/>
            <p:cNvSpPr/>
            <p:nvPr/>
          </p:nvSpPr>
          <p:spPr>
            <a:xfrm>
              <a:off x="3710602" y="3110864"/>
              <a:ext cx="2342213" cy="240461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 smtClean="0">
                <a:solidFill>
                  <a:srgbClr val="000000"/>
                </a:solidFill>
              </a:endParaRPr>
            </a:p>
          </p:txBody>
        </p:sp>
        <p:sp>
          <p:nvSpPr>
            <p:cNvPr id="84" name="Line Callout 1 (No Border) 83"/>
            <p:cNvSpPr/>
            <p:nvPr/>
          </p:nvSpPr>
          <p:spPr>
            <a:xfrm>
              <a:off x="4808805" y="2803132"/>
              <a:ext cx="1114288" cy="319594"/>
            </a:xfrm>
            <a:prstGeom prst="callout1">
              <a:avLst>
                <a:gd name="adj1" fmla="val 117380"/>
                <a:gd name="adj2" fmla="val 43762"/>
                <a:gd name="adj3" fmla="val 220148"/>
                <a:gd name="adj4" fmla="val 10435"/>
              </a:avLst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92" b="1" kern="0" dirty="0" smtClean="0">
                  <a:solidFill>
                    <a:srgbClr val="FFFFFF">
                      <a:lumMod val="50000"/>
                    </a:srgbClr>
                  </a:solidFill>
                </a:rPr>
                <a:t>Targeted Results</a:t>
              </a:r>
              <a:endParaRPr lang="en-GB" sz="1292" b="1" kern="0" dirty="0">
                <a:solidFill>
                  <a:srgbClr val="FFFFFF">
                    <a:lumMod val="50000"/>
                  </a:srgbClr>
                </a:solidFill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2202950" y="2763367"/>
            <a:ext cx="1872000" cy="587959"/>
            <a:chOff x="2202950" y="2763367"/>
            <a:chExt cx="1872000" cy="587959"/>
          </a:xfrm>
        </p:grpSpPr>
        <p:sp>
          <p:nvSpPr>
            <p:cNvPr id="121" name="Isosceles Triangle 120"/>
            <p:cNvSpPr/>
            <p:nvPr/>
          </p:nvSpPr>
          <p:spPr>
            <a:xfrm>
              <a:off x="2202950" y="3123401"/>
              <a:ext cx="1872000" cy="227925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 smtClean="0">
                <a:solidFill>
                  <a:srgbClr val="000000"/>
                </a:solidFill>
              </a:endParaRPr>
            </a:p>
          </p:txBody>
        </p:sp>
        <p:sp>
          <p:nvSpPr>
            <p:cNvPr id="161" name="Freeform 14"/>
            <p:cNvSpPr>
              <a:spLocks noEditPoints="1"/>
            </p:cNvSpPr>
            <p:nvPr/>
          </p:nvSpPr>
          <p:spPr bwMode="gray">
            <a:xfrm>
              <a:off x="3844685" y="2764213"/>
              <a:ext cx="193915" cy="316203"/>
            </a:xfrm>
            <a:custGeom>
              <a:avLst/>
              <a:gdLst>
                <a:gd name="T0" fmla="*/ 140 w 140"/>
                <a:gd name="T1" fmla="*/ 70 h 228"/>
                <a:gd name="T2" fmla="*/ 70 w 140"/>
                <a:gd name="T3" fmla="*/ 0 h 228"/>
                <a:gd name="T4" fmla="*/ 0 w 140"/>
                <a:gd name="T5" fmla="*/ 70 h 228"/>
                <a:gd name="T6" fmla="*/ 9 w 140"/>
                <a:gd name="T7" fmla="*/ 105 h 228"/>
                <a:gd name="T8" fmla="*/ 9 w 140"/>
                <a:gd name="T9" fmla="*/ 105 h 228"/>
                <a:gd name="T10" fmla="*/ 70 w 140"/>
                <a:gd name="T11" fmla="*/ 228 h 228"/>
                <a:gd name="T12" fmla="*/ 131 w 140"/>
                <a:gd name="T13" fmla="*/ 105 h 228"/>
                <a:gd name="T14" fmla="*/ 131 w 140"/>
                <a:gd name="T15" fmla="*/ 105 h 228"/>
                <a:gd name="T16" fmla="*/ 140 w 140"/>
                <a:gd name="T17" fmla="*/ 70 h 228"/>
                <a:gd name="T18" fmla="*/ 70 w 140"/>
                <a:gd name="T19" fmla="*/ 105 h 228"/>
                <a:gd name="T20" fmla="*/ 35 w 140"/>
                <a:gd name="T21" fmla="*/ 70 h 228"/>
                <a:gd name="T22" fmla="*/ 70 w 140"/>
                <a:gd name="T23" fmla="*/ 35 h 228"/>
                <a:gd name="T24" fmla="*/ 105 w 140"/>
                <a:gd name="T25" fmla="*/ 70 h 228"/>
                <a:gd name="T26" fmla="*/ 70 w 140"/>
                <a:gd name="T27" fmla="*/ 10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0" h="228">
                  <a:moveTo>
                    <a:pt x="140" y="70"/>
                  </a:moveTo>
                  <a:cubicBezTo>
                    <a:pt x="140" y="32"/>
                    <a:pt x="109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83"/>
                    <a:pt x="3" y="95"/>
                    <a:pt x="9" y="105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70" y="228"/>
                    <a:pt x="70" y="228"/>
                    <a:pt x="70" y="228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7" y="95"/>
                    <a:pt x="140" y="83"/>
                    <a:pt x="140" y="70"/>
                  </a:cubicBezTo>
                  <a:close/>
                  <a:moveTo>
                    <a:pt x="70" y="105"/>
                  </a:moveTo>
                  <a:cubicBezTo>
                    <a:pt x="51" y="105"/>
                    <a:pt x="35" y="90"/>
                    <a:pt x="35" y="70"/>
                  </a:cubicBezTo>
                  <a:cubicBezTo>
                    <a:pt x="35" y="51"/>
                    <a:pt x="51" y="35"/>
                    <a:pt x="70" y="35"/>
                  </a:cubicBezTo>
                  <a:cubicBezTo>
                    <a:pt x="89" y="35"/>
                    <a:pt x="105" y="51"/>
                    <a:pt x="105" y="70"/>
                  </a:cubicBezTo>
                  <a:cubicBezTo>
                    <a:pt x="105" y="90"/>
                    <a:pt x="89" y="105"/>
                    <a:pt x="70" y="10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0F5494"/>
                </a:solidFill>
              </a:endParaRPr>
            </a:p>
          </p:txBody>
        </p:sp>
        <p:sp>
          <p:nvSpPr>
            <p:cNvPr id="112" name="Line Callout 1 (No Border) 111"/>
            <p:cNvSpPr/>
            <p:nvPr/>
          </p:nvSpPr>
          <p:spPr>
            <a:xfrm>
              <a:off x="2627784" y="2763367"/>
              <a:ext cx="1322614" cy="319594"/>
            </a:xfrm>
            <a:prstGeom prst="callout1">
              <a:avLst>
                <a:gd name="adj1" fmla="val 117380"/>
                <a:gd name="adj2" fmla="val 43762"/>
                <a:gd name="adj3" fmla="val 226960"/>
                <a:gd name="adj4" fmla="val 37789"/>
              </a:avLst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92" b="1" kern="0" dirty="0" smtClean="0">
                  <a:solidFill>
                    <a:srgbClr val="FFFFFF">
                      <a:lumMod val="50000"/>
                    </a:srgbClr>
                  </a:solidFill>
                </a:rPr>
                <a:t>Objectives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92" b="1" kern="0" dirty="0" smtClean="0">
                  <a:solidFill>
                    <a:srgbClr val="FFFFFF">
                      <a:lumMod val="50000"/>
                    </a:srgbClr>
                  </a:solidFill>
                </a:rPr>
                <a:t>Indicators</a:t>
              </a:r>
              <a:endParaRPr lang="en-GB" sz="1292" b="1" kern="0" dirty="0">
                <a:solidFill>
                  <a:srgbClr val="FFFFFF">
                    <a:lumMod val="50000"/>
                  </a:srgbClr>
                </a:solidFill>
              </a:endParaRPr>
            </a:p>
          </p:txBody>
        </p:sp>
      </p:grpSp>
      <p:sp>
        <p:nvSpPr>
          <p:cNvPr id="116" name="Rectangle 115"/>
          <p:cNvSpPr/>
          <p:nvPr/>
        </p:nvSpPr>
        <p:spPr>
          <a:xfrm>
            <a:off x="2173512" y="4729793"/>
            <a:ext cx="1224000" cy="343423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i="1" kern="0" dirty="0">
                <a:solidFill>
                  <a:srgbClr val="FFFFFF">
                    <a:lumMod val="50000"/>
                  </a:srgbClr>
                </a:solidFill>
              </a:rPr>
              <a:t>Commission Decision: </a:t>
            </a:r>
            <a:r>
              <a:rPr lang="en-GB" sz="900" b="1" i="1" kern="0" dirty="0" smtClean="0">
                <a:solidFill>
                  <a:srgbClr val="FFFFFF">
                    <a:lumMod val="50000"/>
                  </a:srgbClr>
                </a:solidFill>
              </a:rPr>
              <a:t>MIP/ISP/SSF</a:t>
            </a:r>
            <a:endParaRPr lang="en-GB" sz="900" b="1" i="1" kern="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7" name="Isosceles Triangle 106"/>
          <p:cNvSpPr/>
          <p:nvPr/>
        </p:nvSpPr>
        <p:spPr>
          <a:xfrm rot="10800000">
            <a:off x="2427940" y="4567291"/>
            <a:ext cx="543860" cy="12383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2667000" y="3427525"/>
            <a:ext cx="558864" cy="2393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700" i="1" dirty="0" smtClean="0">
                <a:solidFill>
                  <a:srgbClr val="FFFFFF">
                    <a:lumMod val="50000"/>
                  </a:srgbClr>
                </a:solidFill>
              </a:rPr>
              <a:t>Specific process for: GGDC – special form of budget support -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6934200" y="0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200" i="1" dirty="0" smtClean="0">
                <a:solidFill>
                  <a:srgbClr val="0F5494"/>
                </a:solidFill>
              </a:rPr>
              <a:t>Legend:</a:t>
            </a:r>
            <a:endParaRPr lang="en-GB" sz="1200" i="1" dirty="0">
              <a:solidFill>
                <a:srgbClr val="0F5494"/>
              </a:solidFill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976796" y="2196460"/>
            <a:ext cx="8091004" cy="425552"/>
            <a:chOff x="976796" y="2196460"/>
            <a:chExt cx="8091004" cy="425552"/>
          </a:xfrm>
        </p:grpSpPr>
        <p:sp>
          <p:nvSpPr>
            <p:cNvPr id="139" name="Freeform 242"/>
            <p:cNvSpPr>
              <a:spLocks noChangeAspect="1" noEditPoints="1"/>
            </p:cNvSpPr>
            <p:nvPr/>
          </p:nvSpPr>
          <p:spPr bwMode="gray">
            <a:xfrm>
              <a:off x="8375594" y="2312876"/>
              <a:ext cx="297013" cy="309136"/>
            </a:xfrm>
            <a:custGeom>
              <a:avLst/>
              <a:gdLst>
                <a:gd name="T0" fmla="*/ 1429 w 1448"/>
                <a:gd name="T1" fmla="*/ 483 h 1479"/>
                <a:gd name="T2" fmla="*/ 1429 w 1448"/>
                <a:gd name="T3" fmla="*/ 483 h 1479"/>
                <a:gd name="T4" fmla="*/ 1334 w 1448"/>
                <a:gd name="T5" fmla="*/ 457 h 1479"/>
                <a:gd name="T6" fmla="*/ 1200 w 1448"/>
                <a:gd name="T7" fmla="*/ 532 h 1479"/>
                <a:gd name="T8" fmla="*/ 1174 w 1448"/>
                <a:gd name="T9" fmla="*/ 626 h 1479"/>
                <a:gd name="T10" fmla="*/ 1234 w 1448"/>
                <a:gd name="T11" fmla="*/ 662 h 1479"/>
                <a:gd name="T12" fmla="*/ 1268 w 1448"/>
                <a:gd name="T13" fmla="*/ 653 h 1479"/>
                <a:gd name="T14" fmla="*/ 1402 w 1448"/>
                <a:gd name="T15" fmla="*/ 578 h 1479"/>
                <a:gd name="T16" fmla="*/ 1429 w 1448"/>
                <a:gd name="T17" fmla="*/ 483 h 1479"/>
                <a:gd name="T18" fmla="*/ 1429 w 1448"/>
                <a:gd name="T19" fmla="*/ 483 h 1479"/>
                <a:gd name="T20" fmla="*/ 821 w 1448"/>
                <a:gd name="T21" fmla="*/ 274 h 1479"/>
                <a:gd name="T22" fmla="*/ 821 w 1448"/>
                <a:gd name="T23" fmla="*/ 274 h 1479"/>
                <a:gd name="T24" fmla="*/ 855 w 1448"/>
                <a:gd name="T25" fmla="*/ 283 h 1479"/>
                <a:gd name="T26" fmla="*/ 916 w 1448"/>
                <a:gd name="T27" fmla="*/ 247 h 1479"/>
                <a:gd name="T28" fmla="*/ 991 w 1448"/>
                <a:gd name="T29" fmla="*/ 113 h 1479"/>
                <a:gd name="T30" fmla="*/ 964 w 1448"/>
                <a:gd name="T31" fmla="*/ 19 h 1479"/>
                <a:gd name="T32" fmla="*/ 870 w 1448"/>
                <a:gd name="T33" fmla="*/ 46 h 1479"/>
                <a:gd name="T34" fmla="*/ 795 w 1448"/>
                <a:gd name="T35" fmla="*/ 179 h 1479"/>
                <a:gd name="T36" fmla="*/ 821 w 1448"/>
                <a:gd name="T37" fmla="*/ 274 h 1479"/>
                <a:gd name="T38" fmla="*/ 821 w 1448"/>
                <a:gd name="T39" fmla="*/ 274 h 1479"/>
                <a:gd name="T40" fmla="*/ 1071 w 1448"/>
                <a:gd name="T41" fmla="*/ 446 h 1479"/>
                <a:gd name="T42" fmla="*/ 1071 w 1448"/>
                <a:gd name="T43" fmla="*/ 446 h 1479"/>
                <a:gd name="T44" fmla="*/ 1120 w 1448"/>
                <a:gd name="T45" fmla="*/ 425 h 1479"/>
                <a:gd name="T46" fmla="*/ 1253 w 1448"/>
                <a:gd name="T47" fmla="*/ 293 h 1479"/>
                <a:gd name="T48" fmla="*/ 1253 w 1448"/>
                <a:gd name="T49" fmla="*/ 195 h 1479"/>
                <a:gd name="T50" fmla="*/ 1155 w 1448"/>
                <a:gd name="T51" fmla="*/ 195 h 1479"/>
                <a:gd name="T52" fmla="*/ 1022 w 1448"/>
                <a:gd name="T53" fmla="*/ 327 h 1479"/>
                <a:gd name="T54" fmla="*/ 1022 w 1448"/>
                <a:gd name="T55" fmla="*/ 425 h 1479"/>
                <a:gd name="T56" fmla="*/ 1071 w 1448"/>
                <a:gd name="T57" fmla="*/ 446 h 1479"/>
                <a:gd name="T58" fmla="*/ 1071 w 1448"/>
                <a:gd name="T59" fmla="*/ 446 h 1479"/>
                <a:gd name="T60" fmla="*/ 1061 w 1448"/>
                <a:gd name="T61" fmla="*/ 993 h 1479"/>
                <a:gd name="T62" fmla="*/ 1061 w 1448"/>
                <a:gd name="T63" fmla="*/ 993 h 1479"/>
                <a:gd name="T64" fmla="*/ 688 w 1448"/>
                <a:gd name="T65" fmla="*/ 790 h 1479"/>
                <a:gd name="T66" fmla="*/ 485 w 1448"/>
                <a:gd name="T67" fmla="*/ 417 h 1479"/>
                <a:gd name="T68" fmla="*/ 858 w 1448"/>
                <a:gd name="T69" fmla="*/ 621 h 1479"/>
                <a:gd name="T70" fmla="*/ 1061 w 1448"/>
                <a:gd name="T71" fmla="*/ 993 h 1479"/>
                <a:gd name="T72" fmla="*/ 1061 w 1448"/>
                <a:gd name="T73" fmla="*/ 993 h 1479"/>
                <a:gd name="T74" fmla="*/ 418 w 1448"/>
                <a:gd name="T75" fmla="*/ 327 h 1479"/>
                <a:gd name="T76" fmla="*/ 418 w 1448"/>
                <a:gd name="T77" fmla="*/ 327 h 1479"/>
                <a:gd name="T78" fmla="*/ 293 w 1448"/>
                <a:gd name="T79" fmla="*/ 1185 h 1479"/>
                <a:gd name="T80" fmla="*/ 1151 w 1448"/>
                <a:gd name="T81" fmla="*/ 1061 h 1479"/>
                <a:gd name="T82" fmla="*/ 925 w 1448"/>
                <a:gd name="T83" fmla="*/ 553 h 1479"/>
                <a:gd name="T84" fmla="*/ 418 w 1448"/>
                <a:gd name="T85" fmla="*/ 327 h 1479"/>
                <a:gd name="T86" fmla="*/ 418 w 1448"/>
                <a:gd name="T87" fmla="*/ 327 h 1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48" h="1479">
                  <a:moveTo>
                    <a:pt x="1429" y="483"/>
                  </a:moveTo>
                  <a:lnTo>
                    <a:pt x="1429" y="483"/>
                  </a:lnTo>
                  <a:cubicBezTo>
                    <a:pt x="1410" y="450"/>
                    <a:pt x="1368" y="438"/>
                    <a:pt x="1334" y="457"/>
                  </a:cubicBezTo>
                  <a:lnTo>
                    <a:pt x="1200" y="532"/>
                  </a:lnTo>
                  <a:cubicBezTo>
                    <a:pt x="1167" y="551"/>
                    <a:pt x="1155" y="593"/>
                    <a:pt x="1174" y="626"/>
                  </a:cubicBezTo>
                  <a:cubicBezTo>
                    <a:pt x="1186" y="649"/>
                    <a:pt x="1210" y="662"/>
                    <a:pt x="1234" y="662"/>
                  </a:cubicBezTo>
                  <a:cubicBezTo>
                    <a:pt x="1246" y="662"/>
                    <a:pt x="1257" y="659"/>
                    <a:pt x="1268" y="653"/>
                  </a:cubicBezTo>
                  <a:lnTo>
                    <a:pt x="1402" y="578"/>
                  </a:lnTo>
                  <a:cubicBezTo>
                    <a:pt x="1436" y="559"/>
                    <a:pt x="1448" y="517"/>
                    <a:pt x="1429" y="483"/>
                  </a:cubicBezTo>
                  <a:lnTo>
                    <a:pt x="1429" y="483"/>
                  </a:lnTo>
                  <a:close/>
                  <a:moveTo>
                    <a:pt x="821" y="274"/>
                  </a:moveTo>
                  <a:lnTo>
                    <a:pt x="821" y="274"/>
                  </a:lnTo>
                  <a:cubicBezTo>
                    <a:pt x="832" y="280"/>
                    <a:pt x="844" y="283"/>
                    <a:pt x="855" y="283"/>
                  </a:cubicBezTo>
                  <a:cubicBezTo>
                    <a:pt x="880" y="283"/>
                    <a:pt x="903" y="270"/>
                    <a:pt x="916" y="247"/>
                  </a:cubicBezTo>
                  <a:lnTo>
                    <a:pt x="991" y="113"/>
                  </a:lnTo>
                  <a:cubicBezTo>
                    <a:pt x="1010" y="80"/>
                    <a:pt x="998" y="38"/>
                    <a:pt x="964" y="19"/>
                  </a:cubicBezTo>
                  <a:cubicBezTo>
                    <a:pt x="931" y="0"/>
                    <a:pt x="889" y="12"/>
                    <a:pt x="870" y="46"/>
                  </a:cubicBezTo>
                  <a:lnTo>
                    <a:pt x="795" y="179"/>
                  </a:lnTo>
                  <a:cubicBezTo>
                    <a:pt x="776" y="213"/>
                    <a:pt x="788" y="255"/>
                    <a:pt x="821" y="274"/>
                  </a:cubicBezTo>
                  <a:lnTo>
                    <a:pt x="821" y="274"/>
                  </a:lnTo>
                  <a:close/>
                  <a:moveTo>
                    <a:pt x="1071" y="446"/>
                  </a:moveTo>
                  <a:lnTo>
                    <a:pt x="1071" y="446"/>
                  </a:lnTo>
                  <a:cubicBezTo>
                    <a:pt x="1089" y="446"/>
                    <a:pt x="1107" y="439"/>
                    <a:pt x="1120" y="425"/>
                  </a:cubicBezTo>
                  <a:lnTo>
                    <a:pt x="1253" y="293"/>
                  </a:lnTo>
                  <a:cubicBezTo>
                    <a:pt x="1280" y="266"/>
                    <a:pt x="1280" y="222"/>
                    <a:pt x="1253" y="195"/>
                  </a:cubicBezTo>
                  <a:cubicBezTo>
                    <a:pt x="1226" y="168"/>
                    <a:pt x="1182" y="168"/>
                    <a:pt x="1155" y="195"/>
                  </a:cubicBezTo>
                  <a:lnTo>
                    <a:pt x="1022" y="327"/>
                  </a:lnTo>
                  <a:cubicBezTo>
                    <a:pt x="995" y="354"/>
                    <a:pt x="995" y="398"/>
                    <a:pt x="1022" y="425"/>
                  </a:cubicBezTo>
                  <a:cubicBezTo>
                    <a:pt x="1036" y="439"/>
                    <a:pt x="1054" y="446"/>
                    <a:pt x="1071" y="446"/>
                  </a:cubicBezTo>
                  <a:lnTo>
                    <a:pt x="1071" y="446"/>
                  </a:lnTo>
                  <a:close/>
                  <a:moveTo>
                    <a:pt x="1061" y="993"/>
                  </a:moveTo>
                  <a:lnTo>
                    <a:pt x="1061" y="993"/>
                  </a:lnTo>
                  <a:cubicBezTo>
                    <a:pt x="1038" y="1016"/>
                    <a:pt x="860" y="961"/>
                    <a:pt x="688" y="790"/>
                  </a:cubicBezTo>
                  <a:cubicBezTo>
                    <a:pt x="517" y="618"/>
                    <a:pt x="462" y="440"/>
                    <a:pt x="485" y="417"/>
                  </a:cubicBezTo>
                  <a:cubicBezTo>
                    <a:pt x="508" y="394"/>
                    <a:pt x="686" y="449"/>
                    <a:pt x="858" y="621"/>
                  </a:cubicBezTo>
                  <a:cubicBezTo>
                    <a:pt x="1029" y="792"/>
                    <a:pt x="1084" y="970"/>
                    <a:pt x="1061" y="993"/>
                  </a:cubicBezTo>
                  <a:lnTo>
                    <a:pt x="1061" y="993"/>
                  </a:lnTo>
                  <a:close/>
                  <a:moveTo>
                    <a:pt x="418" y="327"/>
                  </a:moveTo>
                  <a:lnTo>
                    <a:pt x="418" y="327"/>
                  </a:lnTo>
                  <a:cubicBezTo>
                    <a:pt x="340" y="405"/>
                    <a:pt x="0" y="891"/>
                    <a:pt x="293" y="1185"/>
                  </a:cubicBezTo>
                  <a:cubicBezTo>
                    <a:pt x="588" y="1479"/>
                    <a:pt x="1073" y="1139"/>
                    <a:pt x="1151" y="1061"/>
                  </a:cubicBezTo>
                  <a:cubicBezTo>
                    <a:pt x="1229" y="983"/>
                    <a:pt x="1128" y="756"/>
                    <a:pt x="925" y="553"/>
                  </a:cubicBezTo>
                  <a:cubicBezTo>
                    <a:pt x="723" y="350"/>
                    <a:pt x="496" y="249"/>
                    <a:pt x="418" y="327"/>
                  </a:cubicBezTo>
                  <a:lnTo>
                    <a:pt x="418" y="327"/>
                  </a:lnTo>
                  <a:close/>
                </a:path>
              </a:pathLst>
            </a:custGeom>
            <a:solidFill>
              <a:srgbClr val="FF99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F5494"/>
                </a:solidFill>
              </a:endParaRPr>
            </a:p>
          </p:txBody>
        </p:sp>
        <p:sp>
          <p:nvSpPr>
            <p:cNvPr id="133" name="Rounded Rectangle 132"/>
            <p:cNvSpPr/>
            <p:nvPr/>
          </p:nvSpPr>
          <p:spPr>
            <a:xfrm>
              <a:off x="976796" y="2199395"/>
              <a:ext cx="8091004" cy="418281"/>
            </a:xfrm>
            <a:prstGeom prst="roundRect">
              <a:avLst/>
            </a:prstGeom>
            <a:noFill/>
            <a:ln w="19050">
              <a:solidFill>
                <a:srgbClr val="FF9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477" dirty="0">
                <a:solidFill>
                  <a:srgbClr val="000000"/>
                </a:solidFill>
              </a:endParaRPr>
            </a:p>
          </p:txBody>
        </p:sp>
        <p:sp>
          <p:nvSpPr>
            <p:cNvPr id="136" name="Text Placeholder 12"/>
            <p:cNvSpPr txBox="1">
              <a:spLocks/>
            </p:cNvSpPr>
            <p:nvPr/>
          </p:nvSpPr>
          <p:spPr>
            <a:xfrm>
              <a:off x="1074994" y="2252967"/>
              <a:ext cx="3954206" cy="3204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lIns="0" tIns="0" rIns="0" bIns="0" anchor="ctr" anchorCtr="0">
              <a:noAutofit/>
            </a:bodyPr>
            <a:lstStyle>
              <a:defPPr>
                <a:defRPr lang="en-US"/>
              </a:defPPr>
              <a:lvl1pPr marL="0" indent="0" algn="l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Tx/>
                <a:buNone/>
                <a:defRPr sz="1400" b="0" i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44000" indent="-144000" algn="l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buFont typeface="Wingdings"/>
                <a:buChar char="§"/>
                <a:defRPr sz="1400" b="0" i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88000" indent="-144000" algn="l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/>
                <a:buChar char="–"/>
                <a:defRPr sz="1400" b="0" i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/>
                <a:buChar char="•"/>
                <a:defRPr sz="1400" b="0" i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/>
                <a:buChar char="-"/>
                <a:defRPr sz="1400" b="0" i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050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622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194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766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spcBef>
                  <a:spcPts val="0"/>
                </a:spcBef>
                <a:buClr>
                  <a:srgbClr val="BBE0E3"/>
                </a:buClr>
                <a:defRPr/>
              </a:pPr>
              <a:r>
                <a:rPr lang="en-GB" sz="1108" b="1" dirty="0" smtClean="0">
                  <a:solidFill>
                    <a:srgbClr val="000000"/>
                  </a:solidFill>
                </a:rPr>
                <a:t>Transparency, Reporting and Communication</a:t>
              </a:r>
              <a:endParaRPr lang="en-GB" sz="1108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72" name="Freeform 20"/>
            <p:cNvSpPr>
              <a:spLocks noEditPoints="1"/>
            </p:cNvSpPr>
            <p:nvPr/>
          </p:nvSpPr>
          <p:spPr bwMode="gray">
            <a:xfrm>
              <a:off x="8621807" y="2196460"/>
              <a:ext cx="369793" cy="377528"/>
            </a:xfrm>
            <a:custGeom>
              <a:avLst/>
              <a:gdLst/>
              <a:ahLst/>
              <a:cxnLst>
                <a:cxn ang="0">
                  <a:pos x="53" y="110"/>
                </a:cxn>
                <a:cxn ang="0">
                  <a:pos x="0" y="141"/>
                </a:cxn>
                <a:cxn ang="0">
                  <a:pos x="46" y="98"/>
                </a:cxn>
                <a:cxn ang="0">
                  <a:pos x="53" y="110"/>
                </a:cxn>
                <a:cxn ang="0">
                  <a:pos x="78" y="36"/>
                </a:cxn>
                <a:cxn ang="0">
                  <a:pos x="141" y="36"/>
                </a:cxn>
                <a:cxn ang="0">
                  <a:pos x="141" y="99"/>
                </a:cxn>
                <a:cxn ang="0">
                  <a:pos x="78" y="99"/>
                </a:cxn>
                <a:cxn ang="0">
                  <a:pos x="78" y="36"/>
                </a:cxn>
                <a:cxn ang="0">
                  <a:pos x="66" y="24"/>
                </a:cxn>
                <a:cxn ang="0">
                  <a:pos x="153" y="24"/>
                </a:cxn>
                <a:cxn ang="0">
                  <a:pos x="153" y="111"/>
                </a:cxn>
                <a:cxn ang="0">
                  <a:pos x="66" y="111"/>
                </a:cxn>
                <a:cxn ang="0">
                  <a:pos x="66" y="24"/>
                </a:cxn>
                <a:cxn ang="0">
                  <a:pos x="151" y="129"/>
                </a:cxn>
                <a:cxn ang="0">
                  <a:pos x="169" y="111"/>
                </a:cxn>
                <a:cxn ang="0">
                  <a:pos x="200" y="141"/>
                </a:cxn>
                <a:cxn ang="0">
                  <a:pos x="181" y="160"/>
                </a:cxn>
                <a:cxn ang="0">
                  <a:pos x="151" y="129"/>
                </a:cxn>
                <a:cxn ang="0">
                  <a:pos x="104" y="139"/>
                </a:cxn>
                <a:cxn ang="0">
                  <a:pos x="116" y="139"/>
                </a:cxn>
                <a:cxn ang="0">
                  <a:pos x="121" y="145"/>
                </a:cxn>
                <a:cxn ang="0">
                  <a:pos x="121" y="201"/>
                </a:cxn>
                <a:cxn ang="0">
                  <a:pos x="116" y="206"/>
                </a:cxn>
                <a:cxn ang="0">
                  <a:pos x="104" y="206"/>
                </a:cxn>
                <a:cxn ang="0">
                  <a:pos x="99" y="201"/>
                </a:cxn>
                <a:cxn ang="0">
                  <a:pos x="99" y="145"/>
                </a:cxn>
                <a:cxn ang="0">
                  <a:pos x="104" y="139"/>
                </a:cxn>
                <a:cxn ang="0">
                  <a:pos x="76" y="158"/>
                </a:cxn>
                <a:cxn ang="0">
                  <a:pos x="65" y="158"/>
                </a:cxn>
                <a:cxn ang="0">
                  <a:pos x="59" y="164"/>
                </a:cxn>
                <a:cxn ang="0">
                  <a:pos x="59" y="201"/>
                </a:cxn>
                <a:cxn ang="0">
                  <a:pos x="65" y="206"/>
                </a:cxn>
                <a:cxn ang="0">
                  <a:pos x="76" y="206"/>
                </a:cxn>
                <a:cxn ang="0">
                  <a:pos x="81" y="201"/>
                </a:cxn>
                <a:cxn ang="0">
                  <a:pos x="81" y="164"/>
                </a:cxn>
                <a:cxn ang="0">
                  <a:pos x="76" y="158"/>
                </a:cxn>
                <a:cxn ang="0">
                  <a:pos x="25" y="175"/>
                </a:cxn>
                <a:cxn ang="0">
                  <a:pos x="37" y="175"/>
                </a:cxn>
                <a:cxn ang="0">
                  <a:pos x="42" y="180"/>
                </a:cxn>
                <a:cxn ang="0">
                  <a:pos x="42" y="201"/>
                </a:cxn>
                <a:cxn ang="0">
                  <a:pos x="37" y="206"/>
                </a:cxn>
                <a:cxn ang="0">
                  <a:pos x="25" y="206"/>
                </a:cxn>
                <a:cxn ang="0">
                  <a:pos x="20" y="201"/>
                </a:cxn>
                <a:cxn ang="0">
                  <a:pos x="20" y="180"/>
                </a:cxn>
                <a:cxn ang="0">
                  <a:pos x="25" y="175"/>
                </a:cxn>
                <a:cxn ang="0">
                  <a:pos x="143" y="49"/>
                </a:cxn>
                <a:cxn ang="0">
                  <a:pos x="114" y="100"/>
                </a:cxn>
                <a:cxn ang="0">
                  <a:pos x="105" y="85"/>
                </a:cxn>
                <a:cxn ang="0">
                  <a:pos x="88" y="95"/>
                </a:cxn>
                <a:cxn ang="0">
                  <a:pos x="75" y="75"/>
                </a:cxn>
                <a:cxn ang="0">
                  <a:pos x="93" y="64"/>
                </a:cxn>
                <a:cxn ang="0">
                  <a:pos x="84" y="49"/>
                </a:cxn>
                <a:cxn ang="0">
                  <a:pos x="143" y="49"/>
                </a:cxn>
              </a:cxnLst>
              <a:rect l="0" t="0" r="r" b="b"/>
              <a:pathLst>
                <a:path w="202" h="206">
                  <a:moveTo>
                    <a:pt x="53" y="110"/>
                  </a:moveTo>
                  <a:cubicBezTo>
                    <a:pt x="0" y="141"/>
                    <a:pt x="0" y="141"/>
                    <a:pt x="0" y="141"/>
                  </a:cubicBezTo>
                  <a:cubicBezTo>
                    <a:pt x="3" y="129"/>
                    <a:pt x="24" y="112"/>
                    <a:pt x="46" y="98"/>
                  </a:cubicBezTo>
                  <a:cubicBezTo>
                    <a:pt x="48" y="102"/>
                    <a:pt x="50" y="106"/>
                    <a:pt x="53" y="110"/>
                  </a:cubicBezTo>
                  <a:close/>
                  <a:moveTo>
                    <a:pt x="78" y="36"/>
                  </a:moveTo>
                  <a:cubicBezTo>
                    <a:pt x="96" y="19"/>
                    <a:pt x="124" y="19"/>
                    <a:pt x="141" y="36"/>
                  </a:cubicBezTo>
                  <a:cubicBezTo>
                    <a:pt x="158" y="53"/>
                    <a:pt x="158" y="81"/>
                    <a:pt x="141" y="99"/>
                  </a:cubicBezTo>
                  <a:cubicBezTo>
                    <a:pt x="124" y="116"/>
                    <a:pt x="96" y="116"/>
                    <a:pt x="78" y="99"/>
                  </a:cubicBezTo>
                  <a:cubicBezTo>
                    <a:pt x="61" y="81"/>
                    <a:pt x="61" y="53"/>
                    <a:pt x="78" y="36"/>
                  </a:cubicBezTo>
                  <a:close/>
                  <a:moveTo>
                    <a:pt x="66" y="24"/>
                  </a:moveTo>
                  <a:cubicBezTo>
                    <a:pt x="90" y="0"/>
                    <a:pt x="129" y="0"/>
                    <a:pt x="153" y="24"/>
                  </a:cubicBezTo>
                  <a:cubicBezTo>
                    <a:pt x="178" y="48"/>
                    <a:pt x="178" y="87"/>
                    <a:pt x="153" y="111"/>
                  </a:cubicBezTo>
                  <a:cubicBezTo>
                    <a:pt x="129" y="135"/>
                    <a:pt x="90" y="135"/>
                    <a:pt x="66" y="111"/>
                  </a:cubicBezTo>
                  <a:cubicBezTo>
                    <a:pt x="42" y="87"/>
                    <a:pt x="42" y="48"/>
                    <a:pt x="66" y="24"/>
                  </a:cubicBezTo>
                  <a:close/>
                  <a:moveTo>
                    <a:pt x="151" y="129"/>
                  </a:moveTo>
                  <a:cubicBezTo>
                    <a:pt x="149" y="122"/>
                    <a:pt x="162" y="108"/>
                    <a:pt x="169" y="111"/>
                  </a:cubicBezTo>
                  <a:cubicBezTo>
                    <a:pt x="179" y="114"/>
                    <a:pt x="197" y="131"/>
                    <a:pt x="200" y="141"/>
                  </a:cubicBezTo>
                  <a:cubicBezTo>
                    <a:pt x="202" y="148"/>
                    <a:pt x="189" y="162"/>
                    <a:pt x="181" y="160"/>
                  </a:cubicBezTo>
                  <a:cubicBezTo>
                    <a:pt x="171" y="157"/>
                    <a:pt x="154" y="139"/>
                    <a:pt x="151" y="129"/>
                  </a:cubicBezTo>
                  <a:close/>
                  <a:moveTo>
                    <a:pt x="104" y="139"/>
                  </a:moveTo>
                  <a:cubicBezTo>
                    <a:pt x="116" y="139"/>
                    <a:pt x="116" y="139"/>
                    <a:pt x="116" y="139"/>
                  </a:cubicBezTo>
                  <a:cubicBezTo>
                    <a:pt x="119" y="139"/>
                    <a:pt x="121" y="142"/>
                    <a:pt x="121" y="145"/>
                  </a:cubicBezTo>
                  <a:cubicBezTo>
                    <a:pt x="121" y="201"/>
                    <a:pt x="121" y="201"/>
                    <a:pt x="121" y="201"/>
                  </a:cubicBezTo>
                  <a:cubicBezTo>
                    <a:pt x="121" y="204"/>
                    <a:pt x="119" y="206"/>
                    <a:pt x="116" y="206"/>
                  </a:cubicBezTo>
                  <a:cubicBezTo>
                    <a:pt x="104" y="206"/>
                    <a:pt x="104" y="206"/>
                    <a:pt x="104" y="206"/>
                  </a:cubicBezTo>
                  <a:cubicBezTo>
                    <a:pt x="101" y="206"/>
                    <a:pt x="99" y="204"/>
                    <a:pt x="99" y="201"/>
                  </a:cubicBezTo>
                  <a:cubicBezTo>
                    <a:pt x="99" y="145"/>
                    <a:pt x="99" y="145"/>
                    <a:pt x="99" y="145"/>
                  </a:cubicBezTo>
                  <a:cubicBezTo>
                    <a:pt x="99" y="142"/>
                    <a:pt x="101" y="139"/>
                    <a:pt x="104" y="139"/>
                  </a:cubicBezTo>
                  <a:close/>
                  <a:moveTo>
                    <a:pt x="76" y="158"/>
                  </a:moveTo>
                  <a:cubicBezTo>
                    <a:pt x="65" y="158"/>
                    <a:pt x="65" y="158"/>
                    <a:pt x="65" y="158"/>
                  </a:cubicBezTo>
                  <a:cubicBezTo>
                    <a:pt x="62" y="158"/>
                    <a:pt x="59" y="161"/>
                    <a:pt x="59" y="164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4"/>
                    <a:pt x="62" y="206"/>
                    <a:pt x="65" y="206"/>
                  </a:cubicBezTo>
                  <a:cubicBezTo>
                    <a:pt x="76" y="206"/>
                    <a:pt x="76" y="206"/>
                    <a:pt x="76" y="206"/>
                  </a:cubicBezTo>
                  <a:cubicBezTo>
                    <a:pt x="79" y="206"/>
                    <a:pt x="81" y="204"/>
                    <a:pt x="81" y="201"/>
                  </a:cubicBezTo>
                  <a:cubicBezTo>
                    <a:pt x="81" y="164"/>
                    <a:pt x="81" y="164"/>
                    <a:pt x="81" y="164"/>
                  </a:cubicBezTo>
                  <a:cubicBezTo>
                    <a:pt x="81" y="161"/>
                    <a:pt x="79" y="158"/>
                    <a:pt x="76" y="158"/>
                  </a:cubicBezTo>
                  <a:close/>
                  <a:moveTo>
                    <a:pt x="25" y="175"/>
                  </a:moveTo>
                  <a:cubicBezTo>
                    <a:pt x="37" y="175"/>
                    <a:pt x="37" y="175"/>
                    <a:pt x="37" y="175"/>
                  </a:cubicBezTo>
                  <a:cubicBezTo>
                    <a:pt x="40" y="175"/>
                    <a:pt x="42" y="178"/>
                    <a:pt x="42" y="180"/>
                  </a:cubicBezTo>
                  <a:cubicBezTo>
                    <a:pt x="42" y="201"/>
                    <a:pt x="42" y="201"/>
                    <a:pt x="42" y="201"/>
                  </a:cubicBezTo>
                  <a:cubicBezTo>
                    <a:pt x="42" y="204"/>
                    <a:pt x="40" y="206"/>
                    <a:pt x="37" y="206"/>
                  </a:cubicBezTo>
                  <a:cubicBezTo>
                    <a:pt x="25" y="206"/>
                    <a:pt x="25" y="206"/>
                    <a:pt x="25" y="206"/>
                  </a:cubicBezTo>
                  <a:cubicBezTo>
                    <a:pt x="22" y="206"/>
                    <a:pt x="20" y="204"/>
                    <a:pt x="20" y="201"/>
                  </a:cubicBezTo>
                  <a:cubicBezTo>
                    <a:pt x="20" y="180"/>
                    <a:pt x="20" y="180"/>
                    <a:pt x="20" y="180"/>
                  </a:cubicBezTo>
                  <a:cubicBezTo>
                    <a:pt x="20" y="178"/>
                    <a:pt x="22" y="175"/>
                    <a:pt x="25" y="175"/>
                  </a:cubicBezTo>
                  <a:close/>
                  <a:moveTo>
                    <a:pt x="143" y="49"/>
                  </a:moveTo>
                  <a:cubicBezTo>
                    <a:pt x="114" y="100"/>
                    <a:pt x="114" y="100"/>
                    <a:pt x="114" y="100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81" y="90"/>
                    <a:pt x="77" y="83"/>
                    <a:pt x="75" y="75"/>
                  </a:cubicBezTo>
                  <a:cubicBezTo>
                    <a:pt x="82" y="71"/>
                    <a:pt x="88" y="67"/>
                    <a:pt x="93" y="64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143" y="49"/>
                    <a:pt x="143" y="49"/>
                    <a:pt x="143" y="49"/>
                  </a:cubicBezTo>
                  <a:close/>
                </a:path>
              </a:pathLst>
            </a:custGeom>
            <a:solidFill>
              <a:srgbClr val="FF99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F5494"/>
                </a:solidFill>
              </a:endParaRPr>
            </a:p>
          </p:txBody>
        </p:sp>
        <p:sp>
          <p:nvSpPr>
            <p:cNvPr id="144" name="Rectangle 143"/>
            <p:cNvSpPr/>
            <p:nvPr/>
          </p:nvSpPr>
          <p:spPr>
            <a:xfrm flipV="1">
              <a:off x="1031225" y="2209800"/>
              <a:ext cx="7358307" cy="108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914400" y="5486400"/>
            <a:ext cx="8172143" cy="493406"/>
            <a:chOff x="914400" y="5486400"/>
            <a:chExt cx="8172143" cy="493406"/>
          </a:xfrm>
        </p:grpSpPr>
        <p:sp>
          <p:nvSpPr>
            <p:cNvPr id="81" name="Rounded Rectangle 80"/>
            <p:cNvSpPr/>
            <p:nvPr/>
          </p:nvSpPr>
          <p:spPr>
            <a:xfrm>
              <a:off x="976797" y="5495515"/>
              <a:ext cx="8109746" cy="484291"/>
            </a:xfrm>
            <a:prstGeom prst="roundRect">
              <a:avLst/>
            </a:prstGeom>
            <a:noFill/>
            <a:ln w="19050">
              <a:solidFill>
                <a:srgbClr val="FF9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477" dirty="0">
                <a:solidFill>
                  <a:srgbClr val="000000"/>
                </a:solidFill>
              </a:endParaRPr>
            </a:p>
          </p:txBody>
        </p:sp>
        <p:sp>
          <p:nvSpPr>
            <p:cNvPr id="18" name="Text Placeholder 12"/>
            <p:cNvSpPr txBox="1">
              <a:spLocks/>
            </p:cNvSpPr>
            <p:nvPr/>
          </p:nvSpPr>
          <p:spPr>
            <a:xfrm>
              <a:off x="914400" y="5638723"/>
              <a:ext cx="5011539" cy="156923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lIns="0" tIns="0" rIns="0" bIns="0" anchor="ctr" anchorCtr="0">
              <a:noAutofit/>
            </a:bodyPr>
            <a:lstStyle>
              <a:defPPr>
                <a:defRPr lang="en-US"/>
              </a:defPPr>
              <a:lvl1pPr marL="0" indent="0" algn="l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Tx/>
                <a:buNone/>
                <a:defRPr sz="1400" b="0" i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44000" indent="-144000" algn="l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buFont typeface="Wingdings"/>
                <a:buChar char="§"/>
                <a:defRPr sz="1400" b="0" i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88000" indent="-144000" algn="l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/>
                <a:buChar char="–"/>
                <a:defRPr sz="1400" b="0" i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/>
                <a:buChar char="•"/>
                <a:defRPr sz="1400" b="0" i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/>
                <a:buChar char="-"/>
                <a:defRPr sz="1400" b="0" i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050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622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194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766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spcBef>
                  <a:spcPts val="0"/>
                </a:spcBef>
                <a:buClr>
                  <a:srgbClr val="BBE0E3"/>
                </a:buClr>
                <a:defRPr/>
              </a:pPr>
              <a:r>
                <a:rPr lang="en-GB" sz="1108" b="1" dirty="0" smtClean="0">
                  <a:solidFill>
                    <a:srgbClr val="000000"/>
                  </a:solidFill>
                </a:rPr>
                <a:t>Continuous Improvement and Knowledge Management</a:t>
              </a:r>
              <a:endParaRPr lang="en-GB" sz="1108" b="1" kern="0" dirty="0">
                <a:solidFill>
                  <a:srgbClr val="000000"/>
                </a:solidFill>
              </a:endParaRPr>
            </a:p>
          </p:txBody>
        </p:sp>
        <p:grpSp>
          <p:nvGrpSpPr>
            <p:cNvPr id="128" name="Group 127"/>
            <p:cNvGrpSpPr/>
            <p:nvPr/>
          </p:nvGrpSpPr>
          <p:grpSpPr>
            <a:xfrm>
              <a:off x="8211593" y="5486400"/>
              <a:ext cx="703807" cy="396000"/>
              <a:chOff x="210594" y="2504499"/>
              <a:chExt cx="703807" cy="396000"/>
            </a:xfrm>
          </p:grpSpPr>
          <p:grpSp>
            <p:nvGrpSpPr>
              <p:cNvPr id="129" name="Group 128"/>
              <p:cNvGrpSpPr/>
              <p:nvPr/>
            </p:nvGrpSpPr>
            <p:grpSpPr bwMode="gray">
              <a:xfrm>
                <a:off x="457201" y="2513126"/>
                <a:ext cx="342554" cy="369050"/>
                <a:chOff x="6969126" y="1104900"/>
                <a:chExt cx="287338" cy="309563"/>
              </a:xfrm>
              <a:solidFill>
                <a:srgbClr val="FF9900"/>
              </a:solidFill>
            </p:grpSpPr>
            <p:sp>
              <p:nvSpPr>
                <p:cNvPr id="165" name="Freeform 47"/>
                <p:cNvSpPr>
                  <a:spLocks noEditPoints="1"/>
                </p:cNvSpPr>
                <p:nvPr/>
              </p:nvSpPr>
              <p:spPr bwMode="gray">
                <a:xfrm>
                  <a:off x="6969126" y="1104900"/>
                  <a:ext cx="220663" cy="220662"/>
                </a:xfrm>
                <a:custGeom>
                  <a:avLst/>
                  <a:gdLst>
                    <a:gd name="T0" fmla="*/ 176 w 176"/>
                    <a:gd name="T1" fmla="*/ 99 h 176"/>
                    <a:gd name="T2" fmla="*/ 172 w 176"/>
                    <a:gd name="T3" fmla="*/ 73 h 176"/>
                    <a:gd name="T4" fmla="*/ 151 w 176"/>
                    <a:gd name="T5" fmla="*/ 70 h 176"/>
                    <a:gd name="T6" fmla="*/ 147 w 176"/>
                    <a:gd name="T7" fmla="*/ 50 h 176"/>
                    <a:gd name="T8" fmla="*/ 158 w 176"/>
                    <a:gd name="T9" fmla="*/ 33 h 176"/>
                    <a:gd name="T10" fmla="*/ 137 w 176"/>
                    <a:gd name="T11" fmla="*/ 18 h 176"/>
                    <a:gd name="T12" fmla="*/ 120 w 176"/>
                    <a:gd name="T13" fmla="*/ 31 h 176"/>
                    <a:gd name="T14" fmla="*/ 103 w 176"/>
                    <a:gd name="T15" fmla="*/ 20 h 176"/>
                    <a:gd name="T16" fmla="*/ 99 w 176"/>
                    <a:gd name="T17" fmla="*/ 0 h 176"/>
                    <a:gd name="T18" fmla="*/ 74 w 176"/>
                    <a:gd name="T19" fmla="*/ 4 h 176"/>
                    <a:gd name="T20" fmla="*/ 70 w 176"/>
                    <a:gd name="T21" fmla="*/ 25 h 176"/>
                    <a:gd name="T22" fmla="*/ 50 w 176"/>
                    <a:gd name="T23" fmla="*/ 30 h 176"/>
                    <a:gd name="T24" fmla="*/ 34 w 176"/>
                    <a:gd name="T25" fmla="*/ 18 h 176"/>
                    <a:gd name="T26" fmla="*/ 19 w 176"/>
                    <a:gd name="T27" fmla="*/ 39 h 176"/>
                    <a:gd name="T28" fmla="*/ 31 w 176"/>
                    <a:gd name="T29" fmla="*/ 57 h 176"/>
                    <a:gd name="T30" fmla="*/ 20 w 176"/>
                    <a:gd name="T31" fmla="*/ 73 h 176"/>
                    <a:gd name="T32" fmla="*/ 0 w 176"/>
                    <a:gd name="T33" fmla="*/ 77 h 176"/>
                    <a:gd name="T34" fmla="*/ 4 w 176"/>
                    <a:gd name="T35" fmla="*/ 103 h 176"/>
                    <a:gd name="T36" fmla="*/ 25 w 176"/>
                    <a:gd name="T37" fmla="*/ 106 h 176"/>
                    <a:gd name="T38" fmla="*/ 30 w 176"/>
                    <a:gd name="T39" fmla="*/ 126 h 176"/>
                    <a:gd name="T40" fmla="*/ 19 w 176"/>
                    <a:gd name="T41" fmla="*/ 142 h 176"/>
                    <a:gd name="T42" fmla="*/ 39 w 176"/>
                    <a:gd name="T43" fmla="*/ 157 h 176"/>
                    <a:gd name="T44" fmla="*/ 57 w 176"/>
                    <a:gd name="T45" fmla="*/ 145 h 176"/>
                    <a:gd name="T46" fmla="*/ 73 w 176"/>
                    <a:gd name="T47" fmla="*/ 156 h 176"/>
                    <a:gd name="T48" fmla="*/ 77 w 176"/>
                    <a:gd name="T49" fmla="*/ 176 h 176"/>
                    <a:gd name="T50" fmla="*/ 103 w 176"/>
                    <a:gd name="T51" fmla="*/ 172 h 176"/>
                    <a:gd name="T52" fmla="*/ 107 w 176"/>
                    <a:gd name="T53" fmla="*/ 151 h 176"/>
                    <a:gd name="T54" fmla="*/ 126 w 176"/>
                    <a:gd name="T55" fmla="*/ 146 h 176"/>
                    <a:gd name="T56" fmla="*/ 143 w 176"/>
                    <a:gd name="T57" fmla="*/ 157 h 176"/>
                    <a:gd name="T58" fmla="*/ 158 w 176"/>
                    <a:gd name="T59" fmla="*/ 137 h 176"/>
                    <a:gd name="T60" fmla="*/ 146 w 176"/>
                    <a:gd name="T61" fmla="*/ 119 h 176"/>
                    <a:gd name="T62" fmla="*/ 156 w 176"/>
                    <a:gd name="T63" fmla="*/ 103 h 176"/>
                    <a:gd name="T64" fmla="*/ 88 w 176"/>
                    <a:gd name="T65" fmla="*/ 126 h 176"/>
                    <a:gd name="T66" fmla="*/ 88 w 176"/>
                    <a:gd name="T67" fmla="*/ 50 h 176"/>
                    <a:gd name="T68" fmla="*/ 88 w 176"/>
                    <a:gd name="T69" fmla="*/ 126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76" h="176">
                      <a:moveTo>
                        <a:pt x="172" y="103"/>
                      </a:moveTo>
                      <a:cubicBezTo>
                        <a:pt x="174" y="103"/>
                        <a:pt x="176" y="101"/>
                        <a:pt x="176" y="99"/>
                      </a:cubicBezTo>
                      <a:cubicBezTo>
                        <a:pt x="176" y="77"/>
                        <a:pt x="176" y="77"/>
                        <a:pt x="176" y="77"/>
                      </a:cubicBezTo>
                      <a:cubicBezTo>
                        <a:pt x="176" y="75"/>
                        <a:pt x="174" y="73"/>
                        <a:pt x="172" y="73"/>
                      </a:cubicBezTo>
                      <a:cubicBezTo>
                        <a:pt x="156" y="73"/>
                        <a:pt x="156" y="73"/>
                        <a:pt x="156" y="73"/>
                      </a:cubicBezTo>
                      <a:cubicBezTo>
                        <a:pt x="154" y="73"/>
                        <a:pt x="152" y="72"/>
                        <a:pt x="151" y="70"/>
                      </a:cubicBezTo>
                      <a:cubicBezTo>
                        <a:pt x="146" y="57"/>
                        <a:pt x="146" y="57"/>
                        <a:pt x="146" y="57"/>
                      </a:cubicBezTo>
                      <a:cubicBezTo>
                        <a:pt x="145" y="55"/>
                        <a:pt x="145" y="52"/>
                        <a:pt x="147" y="50"/>
                      </a:cubicBezTo>
                      <a:cubicBezTo>
                        <a:pt x="158" y="39"/>
                        <a:pt x="158" y="39"/>
                        <a:pt x="158" y="39"/>
                      </a:cubicBezTo>
                      <a:cubicBezTo>
                        <a:pt x="159" y="38"/>
                        <a:pt x="159" y="35"/>
                        <a:pt x="158" y="33"/>
                      </a:cubicBezTo>
                      <a:cubicBezTo>
                        <a:pt x="143" y="18"/>
                        <a:pt x="143" y="18"/>
                        <a:pt x="143" y="18"/>
                      </a:cubicBezTo>
                      <a:cubicBezTo>
                        <a:pt x="141" y="17"/>
                        <a:pt x="139" y="17"/>
                        <a:pt x="137" y="18"/>
                      </a:cubicBezTo>
                      <a:cubicBezTo>
                        <a:pt x="126" y="30"/>
                        <a:pt x="126" y="30"/>
                        <a:pt x="126" y="30"/>
                      </a:cubicBezTo>
                      <a:cubicBezTo>
                        <a:pt x="124" y="31"/>
                        <a:pt x="121" y="32"/>
                        <a:pt x="120" y="31"/>
                      </a:cubicBezTo>
                      <a:cubicBezTo>
                        <a:pt x="107" y="25"/>
                        <a:pt x="107" y="25"/>
                        <a:pt x="107" y="25"/>
                      </a:cubicBezTo>
                      <a:cubicBezTo>
                        <a:pt x="104" y="24"/>
                        <a:pt x="103" y="22"/>
                        <a:pt x="103" y="20"/>
                      </a:cubicBezTo>
                      <a:cubicBezTo>
                        <a:pt x="103" y="4"/>
                        <a:pt x="103" y="4"/>
                        <a:pt x="103" y="4"/>
                      </a:cubicBezTo>
                      <a:cubicBezTo>
                        <a:pt x="103" y="2"/>
                        <a:pt x="101" y="0"/>
                        <a:pt x="99" y="0"/>
                      </a:cubicBezTo>
                      <a:cubicBezTo>
                        <a:pt x="78" y="0"/>
                        <a:pt x="78" y="0"/>
                        <a:pt x="78" y="0"/>
                      </a:cubicBezTo>
                      <a:cubicBezTo>
                        <a:pt x="75" y="0"/>
                        <a:pt x="74" y="2"/>
                        <a:pt x="74" y="4"/>
                      </a:cubicBezTo>
                      <a:cubicBezTo>
                        <a:pt x="74" y="20"/>
                        <a:pt x="74" y="20"/>
                        <a:pt x="74" y="20"/>
                      </a:cubicBezTo>
                      <a:cubicBezTo>
                        <a:pt x="74" y="22"/>
                        <a:pt x="72" y="24"/>
                        <a:pt x="70" y="25"/>
                      </a:cubicBezTo>
                      <a:cubicBezTo>
                        <a:pt x="57" y="31"/>
                        <a:pt x="57" y="31"/>
                        <a:pt x="57" y="31"/>
                      </a:cubicBezTo>
                      <a:cubicBezTo>
                        <a:pt x="55" y="32"/>
                        <a:pt x="52" y="31"/>
                        <a:pt x="50" y="30"/>
                      </a:cubicBezTo>
                      <a:cubicBezTo>
                        <a:pt x="39" y="18"/>
                        <a:pt x="39" y="18"/>
                        <a:pt x="39" y="18"/>
                      </a:cubicBezTo>
                      <a:cubicBezTo>
                        <a:pt x="38" y="17"/>
                        <a:pt x="35" y="17"/>
                        <a:pt x="34" y="18"/>
                      </a:cubicBezTo>
                      <a:cubicBezTo>
                        <a:pt x="19" y="33"/>
                        <a:pt x="19" y="33"/>
                        <a:pt x="19" y="33"/>
                      </a:cubicBezTo>
                      <a:cubicBezTo>
                        <a:pt x="17" y="35"/>
                        <a:pt x="17" y="38"/>
                        <a:pt x="19" y="39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1" y="52"/>
                        <a:pt x="32" y="55"/>
                        <a:pt x="31" y="57"/>
                      </a:cubicBezTo>
                      <a:cubicBezTo>
                        <a:pt x="25" y="70"/>
                        <a:pt x="25" y="70"/>
                        <a:pt x="25" y="70"/>
                      </a:cubicBezTo>
                      <a:cubicBezTo>
                        <a:pt x="25" y="72"/>
                        <a:pt x="22" y="73"/>
                        <a:pt x="20" y="73"/>
                      </a:cubicBezTo>
                      <a:cubicBezTo>
                        <a:pt x="4" y="73"/>
                        <a:pt x="4" y="73"/>
                        <a:pt x="4" y="73"/>
                      </a:cubicBezTo>
                      <a:cubicBezTo>
                        <a:pt x="2" y="73"/>
                        <a:pt x="0" y="75"/>
                        <a:pt x="0" y="77"/>
                      </a:cubicBezTo>
                      <a:cubicBezTo>
                        <a:pt x="0" y="99"/>
                        <a:pt x="0" y="99"/>
                        <a:pt x="0" y="99"/>
                      </a:cubicBezTo>
                      <a:cubicBezTo>
                        <a:pt x="0" y="101"/>
                        <a:pt x="2" y="103"/>
                        <a:pt x="4" y="103"/>
                      </a:cubicBezTo>
                      <a:cubicBezTo>
                        <a:pt x="20" y="103"/>
                        <a:pt x="20" y="103"/>
                        <a:pt x="20" y="103"/>
                      </a:cubicBezTo>
                      <a:cubicBezTo>
                        <a:pt x="22" y="103"/>
                        <a:pt x="25" y="104"/>
                        <a:pt x="25" y="106"/>
                      </a:cubicBezTo>
                      <a:cubicBezTo>
                        <a:pt x="31" y="119"/>
                        <a:pt x="31" y="119"/>
                        <a:pt x="31" y="119"/>
                      </a:cubicBezTo>
                      <a:cubicBezTo>
                        <a:pt x="32" y="121"/>
                        <a:pt x="31" y="124"/>
                        <a:pt x="30" y="126"/>
                      </a:cubicBezTo>
                      <a:cubicBezTo>
                        <a:pt x="19" y="137"/>
                        <a:pt x="19" y="137"/>
                        <a:pt x="19" y="137"/>
                      </a:cubicBezTo>
                      <a:cubicBezTo>
                        <a:pt x="17" y="138"/>
                        <a:pt x="17" y="141"/>
                        <a:pt x="19" y="142"/>
                      </a:cubicBezTo>
                      <a:cubicBezTo>
                        <a:pt x="34" y="157"/>
                        <a:pt x="34" y="157"/>
                        <a:pt x="34" y="157"/>
                      </a:cubicBezTo>
                      <a:cubicBezTo>
                        <a:pt x="35" y="159"/>
                        <a:pt x="38" y="159"/>
                        <a:pt x="39" y="157"/>
                      </a:cubicBezTo>
                      <a:cubicBezTo>
                        <a:pt x="50" y="146"/>
                        <a:pt x="50" y="146"/>
                        <a:pt x="50" y="146"/>
                      </a:cubicBezTo>
                      <a:cubicBezTo>
                        <a:pt x="52" y="145"/>
                        <a:pt x="55" y="144"/>
                        <a:pt x="57" y="145"/>
                      </a:cubicBezTo>
                      <a:cubicBezTo>
                        <a:pt x="70" y="151"/>
                        <a:pt x="70" y="151"/>
                        <a:pt x="70" y="151"/>
                      </a:cubicBezTo>
                      <a:cubicBezTo>
                        <a:pt x="72" y="152"/>
                        <a:pt x="73" y="154"/>
                        <a:pt x="73" y="156"/>
                      </a:cubicBezTo>
                      <a:cubicBezTo>
                        <a:pt x="73" y="172"/>
                        <a:pt x="73" y="172"/>
                        <a:pt x="73" y="172"/>
                      </a:cubicBezTo>
                      <a:cubicBezTo>
                        <a:pt x="73" y="174"/>
                        <a:pt x="75" y="176"/>
                        <a:pt x="77" y="176"/>
                      </a:cubicBezTo>
                      <a:cubicBezTo>
                        <a:pt x="99" y="176"/>
                        <a:pt x="99" y="176"/>
                        <a:pt x="99" y="176"/>
                      </a:cubicBezTo>
                      <a:cubicBezTo>
                        <a:pt x="101" y="176"/>
                        <a:pt x="103" y="174"/>
                        <a:pt x="103" y="172"/>
                      </a:cubicBezTo>
                      <a:cubicBezTo>
                        <a:pt x="103" y="156"/>
                        <a:pt x="103" y="156"/>
                        <a:pt x="103" y="156"/>
                      </a:cubicBezTo>
                      <a:cubicBezTo>
                        <a:pt x="103" y="154"/>
                        <a:pt x="104" y="152"/>
                        <a:pt x="107" y="151"/>
                      </a:cubicBezTo>
                      <a:cubicBezTo>
                        <a:pt x="120" y="145"/>
                        <a:pt x="120" y="145"/>
                        <a:pt x="120" y="145"/>
                      </a:cubicBezTo>
                      <a:cubicBezTo>
                        <a:pt x="121" y="144"/>
                        <a:pt x="124" y="145"/>
                        <a:pt x="126" y="146"/>
                      </a:cubicBezTo>
                      <a:cubicBezTo>
                        <a:pt x="137" y="157"/>
                        <a:pt x="137" y="157"/>
                        <a:pt x="137" y="157"/>
                      </a:cubicBezTo>
                      <a:cubicBezTo>
                        <a:pt x="139" y="159"/>
                        <a:pt x="141" y="159"/>
                        <a:pt x="143" y="157"/>
                      </a:cubicBezTo>
                      <a:cubicBezTo>
                        <a:pt x="158" y="142"/>
                        <a:pt x="158" y="142"/>
                        <a:pt x="158" y="142"/>
                      </a:cubicBezTo>
                      <a:cubicBezTo>
                        <a:pt x="159" y="141"/>
                        <a:pt x="159" y="138"/>
                        <a:pt x="158" y="137"/>
                      </a:cubicBezTo>
                      <a:cubicBezTo>
                        <a:pt x="147" y="126"/>
                        <a:pt x="147" y="126"/>
                        <a:pt x="147" y="126"/>
                      </a:cubicBezTo>
                      <a:cubicBezTo>
                        <a:pt x="145" y="124"/>
                        <a:pt x="145" y="121"/>
                        <a:pt x="146" y="119"/>
                      </a:cubicBezTo>
                      <a:cubicBezTo>
                        <a:pt x="151" y="106"/>
                        <a:pt x="151" y="106"/>
                        <a:pt x="151" y="106"/>
                      </a:cubicBezTo>
                      <a:cubicBezTo>
                        <a:pt x="152" y="104"/>
                        <a:pt x="154" y="103"/>
                        <a:pt x="156" y="103"/>
                      </a:cubicBezTo>
                      <a:lnTo>
                        <a:pt x="172" y="103"/>
                      </a:lnTo>
                      <a:close/>
                      <a:moveTo>
                        <a:pt x="88" y="126"/>
                      </a:moveTo>
                      <a:cubicBezTo>
                        <a:pt x="67" y="126"/>
                        <a:pt x="50" y="109"/>
                        <a:pt x="50" y="88"/>
                      </a:cubicBezTo>
                      <a:cubicBezTo>
                        <a:pt x="50" y="67"/>
                        <a:pt x="67" y="50"/>
                        <a:pt x="88" y="50"/>
                      </a:cubicBezTo>
                      <a:cubicBezTo>
                        <a:pt x="109" y="50"/>
                        <a:pt x="126" y="67"/>
                        <a:pt x="126" y="88"/>
                      </a:cubicBezTo>
                      <a:cubicBezTo>
                        <a:pt x="126" y="109"/>
                        <a:pt x="109" y="126"/>
                        <a:pt x="88" y="1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F5494"/>
                    </a:solidFill>
                  </a:endParaRPr>
                </a:p>
              </p:txBody>
            </p:sp>
            <p:sp>
              <p:nvSpPr>
                <p:cNvPr id="166" name="Freeform 48"/>
                <p:cNvSpPr>
                  <a:spLocks noEditPoints="1"/>
                </p:cNvSpPr>
                <p:nvPr/>
              </p:nvSpPr>
              <p:spPr bwMode="gray">
                <a:xfrm>
                  <a:off x="7146926" y="1303338"/>
                  <a:ext cx="109538" cy="111125"/>
                </a:xfrm>
                <a:custGeom>
                  <a:avLst/>
                  <a:gdLst>
                    <a:gd name="T0" fmla="*/ 87 w 87"/>
                    <a:gd name="T1" fmla="*/ 49 h 88"/>
                    <a:gd name="T2" fmla="*/ 85 w 87"/>
                    <a:gd name="T3" fmla="*/ 37 h 88"/>
                    <a:gd name="T4" fmla="*/ 75 w 87"/>
                    <a:gd name="T5" fmla="*/ 35 h 88"/>
                    <a:gd name="T6" fmla="*/ 73 w 87"/>
                    <a:gd name="T7" fmla="*/ 25 h 88"/>
                    <a:gd name="T8" fmla="*/ 78 w 87"/>
                    <a:gd name="T9" fmla="*/ 17 h 88"/>
                    <a:gd name="T10" fmla="*/ 68 w 87"/>
                    <a:gd name="T11" fmla="*/ 9 h 88"/>
                    <a:gd name="T12" fmla="*/ 59 w 87"/>
                    <a:gd name="T13" fmla="*/ 15 h 88"/>
                    <a:gd name="T14" fmla="*/ 51 w 87"/>
                    <a:gd name="T15" fmla="*/ 10 h 88"/>
                    <a:gd name="T16" fmla="*/ 49 w 87"/>
                    <a:gd name="T17" fmla="*/ 0 h 88"/>
                    <a:gd name="T18" fmla="*/ 36 w 87"/>
                    <a:gd name="T19" fmla="*/ 2 h 88"/>
                    <a:gd name="T20" fmla="*/ 34 w 87"/>
                    <a:gd name="T21" fmla="*/ 13 h 88"/>
                    <a:gd name="T22" fmla="*/ 25 w 87"/>
                    <a:gd name="T23" fmla="*/ 15 h 88"/>
                    <a:gd name="T24" fmla="*/ 16 w 87"/>
                    <a:gd name="T25" fmla="*/ 9 h 88"/>
                    <a:gd name="T26" fmla="*/ 9 w 87"/>
                    <a:gd name="T27" fmla="*/ 20 h 88"/>
                    <a:gd name="T28" fmla="*/ 15 w 87"/>
                    <a:gd name="T29" fmla="*/ 28 h 88"/>
                    <a:gd name="T30" fmla="*/ 10 w 87"/>
                    <a:gd name="T31" fmla="*/ 37 h 88"/>
                    <a:gd name="T32" fmla="*/ 0 w 87"/>
                    <a:gd name="T33" fmla="*/ 39 h 88"/>
                    <a:gd name="T34" fmla="*/ 2 w 87"/>
                    <a:gd name="T35" fmla="*/ 51 h 88"/>
                    <a:gd name="T36" fmla="*/ 12 w 87"/>
                    <a:gd name="T37" fmla="*/ 53 h 88"/>
                    <a:gd name="T38" fmla="*/ 14 w 87"/>
                    <a:gd name="T39" fmla="*/ 63 h 88"/>
                    <a:gd name="T40" fmla="*/ 9 w 87"/>
                    <a:gd name="T41" fmla="*/ 71 h 88"/>
                    <a:gd name="T42" fmla="*/ 19 w 87"/>
                    <a:gd name="T43" fmla="*/ 79 h 88"/>
                    <a:gd name="T44" fmla="*/ 28 w 87"/>
                    <a:gd name="T45" fmla="*/ 73 h 88"/>
                    <a:gd name="T46" fmla="*/ 36 w 87"/>
                    <a:gd name="T47" fmla="*/ 78 h 88"/>
                    <a:gd name="T48" fmla="*/ 38 w 87"/>
                    <a:gd name="T49" fmla="*/ 88 h 88"/>
                    <a:gd name="T50" fmla="*/ 51 w 87"/>
                    <a:gd name="T51" fmla="*/ 86 h 88"/>
                    <a:gd name="T52" fmla="*/ 53 w 87"/>
                    <a:gd name="T53" fmla="*/ 75 h 88"/>
                    <a:gd name="T54" fmla="*/ 62 w 87"/>
                    <a:gd name="T55" fmla="*/ 73 h 88"/>
                    <a:gd name="T56" fmla="*/ 71 w 87"/>
                    <a:gd name="T57" fmla="*/ 79 h 88"/>
                    <a:gd name="T58" fmla="*/ 78 w 87"/>
                    <a:gd name="T59" fmla="*/ 68 h 88"/>
                    <a:gd name="T60" fmla="*/ 72 w 87"/>
                    <a:gd name="T61" fmla="*/ 60 h 88"/>
                    <a:gd name="T62" fmla="*/ 78 w 87"/>
                    <a:gd name="T63" fmla="*/ 51 h 88"/>
                    <a:gd name="T64" fmla="*/ 58 w 87"/>
                    <a:gd name="T65" fmla="*/ 44 h 88"/>
                    <a:gd name="T66" fmla="*/ 29 w 87"/>
                    <a:gd name="T67" fmla="*/ 44 h 88"/>
                    <a:gd name="T68" fmla="*/ 58 w 87"/>
                    <a:gd name="T69" fmla="*/ 44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87" h="88">
                      <a:moveTo>
                        <a:pt x="85" y="51"/>
                      </a:moveTo>
                      <a:cubicBezTo>
                        <a:pt x="86" y="51"/>
                        <a:pt x="87" y="50"/>
                        <a:pt x="87" y="49"/>
                      </a:cubicBezTo>
                      <a:cubicBezTo>
                        <a:pt x="87" y="39"/>
                        <a:pt x="87" y="39"/>
                        <a:pt x="87" y="39"/>
                      </a:cubicBezTo>
                      <a:cubicBezTo>
                        <a:pt x="87" y="38"/>
                        <a:pt x="86" y="37"/>
                        <a:pt x="85" y="37"/>
                      </a:cubicBezTo>
                      <a:cubicBezTo>
                        <a:pt x="78" y="37"/>
                        <a:pt x="78" y="37"/>
                        <a:pt x="78" y="37"/>
                      </a:cubicBezTo>
                      <a:cubicBezTo>
                        <a:pt x="77" y="37"/>
                        <a:pt x="75" y="36"/>
                        <a:pt x="75" y="35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27"/>
                        <a:pt x="72" y="26"/>
                        <a:pt x="73" y="25"/>
                      </a:cubicBezTo>
                      <a:cubicBezTo>
                        <a:pt x="78" y="20"/>
                        <a:pt x="78" y="20"/>
                        <a:pt x="78" y="20"/>
                      </a:cubicBezTo>
                      <a:cubicBezTo>
                        <a:pt x="79" y="19"/>
                        <a:pt x="79" y="17"/>
                        <a:pt x="78" y="17"/>
                      </a:cubicBezTo>
                      <a:cubicBezTo>
                        <a:pt x="71" y="9"/>
                        <a:pt x="71" y="9"/>
                        <a:pt x="71" y="9"/>
                      </a:cubicBezTo>
                      <a:cubicBezTo>
                        <a:pt x="70" y="8"/>
                        <a:pt x="69" y="8"/>
                        <a:pt x="68" y="9"/>
                      </a:cubicBezTo>
                      <a:cubicBezTo>
                        <a:pt x="62" y="15"/>
                        <a:pt x="62" y="15"/>
                        <a:pt x="62" y="15"/>
                      </a:cubicBezTo>
                      <a:cubicBezTo>
                        <a:pt x="62" y="15"/>
                        <a:pt x="60" y="16"/>
                        <a:pt x="59" y="15"/>
                      </a:cubicBezTo>
                      <a:cubicBezTo>
                        <a:pt x="53" y="13"/>
                        <a:pt x="53" y="13"/>
                        <a:pt x="53" y="13"/>
                      </a:cubicBezTo>
                      <a:cubicBezTo>
                        <a:pt x="52" y="12"/>
                        <a:pt x="51" y="11"/>
                        <a:pt x="51" y="1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1" y="1"/>
                        <a:pt x="50" y="0"/>
                        <a:pt x="49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37" y="0"/>
                        <a:pt x="36" y="1"/>
                        <a:pt x="36" y="2"/>
                      </a:cubicBezTo>
                      <a:cubicBezTo>
                        <a:pt x="36" y="10"/>
                        <a:pt x="36" y="10"/>
                        <a:pt x="36" y="10"/>
                      </a:cubicBezTo>
                      <a:cubicBezTo>
                        <a:pt x="36" y="11"/>
                        <a:pt x="35" y="12"/>
                        <a:pt x="34" y="13"/>
                      </a:cubicBezTo>
                      <a:cubicBezTo>
                        <a:pt x="28" y="15"/>
                        <a:pt x="28" y="15"/>
                        <a:pt x="28" y="15"/>
                      </a:cubicBezTo>
                      <a:cubicBezTo>
                        <a:pt x="27" y="16"/>
                        <a:pt x="25" y="15"/>
                        <a:pt x="25" y="15"/>
                      </a:cubicBezTo>
                      <a:cubicBezTo>
                        <a:pt x="19" y="9"/>
                        <a:pt x="19" y="9"/>
                        <a:pt x="19" y="9"/>
                      </a:cubicBezTo>
                      <a:cubicBezTo>
                        <a:pt x="18" y="8"/>
                        <a:pt x="17" y="8"/>
                        <a:pt x="16" y="9"/>
                      </a:cubicBezTo>
                      <a:cubicBezTo>
                        <a:pt x="9" y="17"/>
                        <a:pt x="9" y="17"/>
                        <a:pt x="9" y="17"/>
                      </a:cubicBezTo>
                      <a:cubicBezTo>
                        <a:pt x="8" y="17"/>
                        <a:pt x="8" y="19"/>
                        <a:pt x="9" y="20"/>
                      </a:cubicBezTo>
                      <a:cubicBezTo>
                        <a:pt x="14" y="25"/>
                        <a:pt x="14" y="25"/>
                        <a:pt x="14" y="25"/>
                      </a:cubicBezTo>
                      <a:cubicBezTo>
                        <a:pt x="15" y="26"/>
                        <a:pt x="15" y="27"/>
                        <a:pt x="15" y="28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2" y="36"/>
                        <a:pt x="11" y="37"/>
                        <a:pt x="10" y="37"/>
                      </a:cubicBezTo>
                      <a:cubicBezTo>
                        <a:pt x="2" y="37"/>
                        <a:pt x="2" y="37"/>
                        <a:pt x="2" y="37"/>
                      </a:cubicBezTo>
                      <a:cubicBezTo>
                        <a:pt x="1" y="37"/>
                        <a:pt x="0" y="38"/>
                        <a:pt x="0" y="39"/>
                      </a:cubicBezTo>
                      <a:cubicBezTo>
                        <a:pt x="0" y="49"/>
                        <a:pt x="0" y="49"/>
                        <a:pt x="0" y="49"/>
                      </a:cubicBezTo>
                      <a:cubicBezTo>
                        <a:pt x="0" y="50"/>
                        <a:pt x="1" y="51"/>
                        <a:pt x="2" y="51"/>
                      </a:cubicBezTo>
                      <a:cubicBezTo>
                        <a:pt x="10" y="51"/>
                        <a:pt x="10" y="51"/>
                        <a:pt x="10" y="51"/>
                      </a:cubicBezTo>
                      <a:cubicBezTo>
                        <a:pt x="11" y="51"/>
                        <a:pt x="12" y="52"/>
                        <a:pt x="12" y="53"/>
                      </a:cubicBezTo>
                      <a:cubicBezTo>
                        <a:pt x="15" y="60"/>
                        <a:pt x="15" y="60"/>
                        <a:pt x="15" y="60"/>
                      </a:cubicBezTo>
                      <a:cubicBezTo>
                        <a:pt x="15" y="61"/>
                        <a:pt x="15" y="62"/>
                        <a:pt x="14" y="63"/>
                      </a:cubicBezTo>
                      <a:cubicBezTo>
                        <a:pt x="9" y="68"/>
                        <a:pt x="9" y="68"/>
                        <a:pt x="9" y="68"/>
                      </a:cubicBezTo>
                      <a:cubicBezTo>
                        <a:pt x="8" y="69"/>
                        <a:pt x="8" y="70"/>
                        <a:pt x="9" y="71"/>
                      </a:cubicBezTo>
                      <a:cubicBezTo>
                        <a:pt x="16" y="79"/>
                        <a:pt x="16" y="79"/>
                        <a:pt x="16" y="79"/>
                      </a:cubicBezTo>
                      <a:cubicBezTo>
                        <a:pt x="17" y="79"/>
                        <a:pt x="18" y="79"/>
                        <a:pt x="19" y="79"/>
                      </a:cubicBezTo>
                      <a:cubicBezTo>
                        <a:pt x="25" y="73"/>
                        <a:pt x="25" y="73"/>
                        <a:pt x="25" y="73"/>
                      </a:cubicBezTo>
                      <a:cubicBezTo>
                        <a:pt x="25" y="72"/>
                        <a:pt x="27" y="72"/>
                        <a:pt x="28" y="73"/>
                      </a:cubicBezTo>
                      <a:cubicBezTo>
                        <a:pt x="34" y="75"/>
                        <a:pt x="34" y="75"/>
                        <a:pt x="34" y="75"/>
                      </a:cubicBezTo>
                      <a:cubicBezTo>
                        <a:pt x="35" y="76"/>
                        <a:pt x="36" y="77"/>
                        <a:pt x="36" y="78"/>
                      </a:cubicBezTo>
                      <a:cubicBezTo>
                        <a:pt x="36" y="86"/>
                        <a:pt x="36" y="86"/>
                        <a:pt x="36" y="86"/>
                      </a:cubicBezTo>
                      <a:cubicBezTo>
                        <a:pt x="36" y="87"/>
                        <a:pt x="37" y="88"/>
                        <a:pt x="38" y="88"/>
                      </a:cubicBezTo>
                      <a:cubicBezTo>
                        <a:pt x="49" y="88"/>
                        <a:pt x="49" y="88"/>
                        <a:pt x="49" y="88"/>
                      </a:cubicBezTo>
                      <a:cubicBezTo>
                        <a:pt x="50" y="88"/>
                        <a:pt x="51" y="87"/>
                        <a:pt x="51" y="86"/>
                      </a:cubicBezTo>
                      <a:cubicBezTo>
                        <a:pt x="51" y="78"/>
                        <a:pt x="51" y="78"/>
                        <a:pt x="51" y="78"/>
                      </a:cubicBezTo>
                      <a:cubicBezTo>
                        <a:pt x="51" y="77"/>
                        <a:pt x="52" y="76"/>
                        <a:pt x="53" y="75"/>
                      </a:cubicBezTo>
                      <a:cubicBezTo>
                        <a:pt x="59" y="73"/>
                        <a:pt x="59" y="73"/>
                        <a:pt x="59" y="73"/>
                      </a:cubicBezTo>
                      <a:cubicBezTo>
                        <a:pt x="60" y="72"/>
                        <a:pt x="62" y="72"/>
                        <a:pt x="62" y="73"/>
                      </a:cubicBezTo>
                      <a:cubicBezTo>
                        <a:pt x="68" y="79"/>
                        <a:pt x="68" y="79"/>
                        <a:pt x="68" y="79"/>
                      </a:cubicBezTo>
                      <a:cubicBezTo>
                        <a:pt x="69" y="79"/>
                        <a:pt x="70" y="79"/>
                        <a:pt x="71" y="79"/>
                      </a:cubicBezTo>
                      <a:cubicBezTo>
                        <a:pt x="78" y="71"/>
                        <a:pt x="78" y="71"/>
                        <a:pt x="78" y="71"/>
                      </a:cubicBezTo>
                      <a:cubicBezTo>
                        <a:pt x="79" y="70"/>
                        <a:pt x="79" y="69"/>
                        <a:pt x="78" y="68"/>
                      </a:cubicBezTo>
                      <a:cubicBezTo>
                        <a:pt x="73" y="63"/>
                        <a:pt x="73" y="63"/>
                        <a:pt x="73" y="63"/>
                      </a:cubicBezTo>
                      <a:cubicBezTo>
                        <a:pt x="72" y="62"/>
                        <a:pt x="72" y="61"/>
                        <a:pt x="72" y="60"/>
                      </a:cubicBezTo>
                      <a:cubicBezTo>
                        <a:pt x="75" y="53"/>
                        <a:pt x="75" y="53"/>
                        <a:pt x="75" y="53"/>
                      </a:cubicBezTo>
                      <a:cubicBezTo>
                        <a:pt x="75" y="52"/>
                        <a:pt x="76" y="51"/>
                        <a:pt x="78" y="51"/>
                      </a:cubicBezTo>
                      <a:lnTo>
                        <a:pt x="85" y="51"/>
                      </a:lnTo>
                      <a:close/>
                      <a:moveTo>
                        <a:pt x="58" y="44"/>
                      </a:moveTo>
                      <a:cubicBezTo>
                        <a:pt x="58" y="52"/>
                        <a:pt x="52" y="59"/>
                        <a:pt x="44" y="59"/>
                      </a:cubicBezTo>
                      <a:cubicBezTo>
                        <a:pt x="35" y="59"/>
                        <a:pt x="29" y="52"/>
                        <a:pt x="29" y="44"/>
                      </a:cubicBezTo>
                      <a:cubicBezTo>
                        <a:pt x="29" y="36"/>
                        <a:pt x="35" y="29"/>
                        <a:pt x="44" y="29"/>
                      </a:cubicBezTo>
                      <a:cubicBezTo>
                        <a:pt x="52" y="29"/>
                        <a:pt x="58" y="36"/>
                        <a:pt x="58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F5494"/>
                    </a:solidFill>
                  </a:endParaRPr>
                </a:p>
              </p:txBody>
            </p:sp>
          </p:grpSp>
          <p:grpSp>
            <p:nvGrpSpPr>
              <p:cNvPr id="130" name="Group 129"/>
              <p:cNvGrpSpPr/>
              <p:nvPr/>
            </p:nvGrpSpPr>
            <p:grpSpPr bwMode="gray">
              <a:xfrm rot="5400000">
                <a:off x="558599" y="2499878"/>
                <a:ext cx="342554" cy="369050"/>
                <a:chOff x="6969126" y="1104900"/>
                <a:chExt cx="287338" cy="309563"/>
              </a:xfrm>
              <a:solidFill>
                <a:srgbClr val="FF9900"/>
              </a:solidFill>
            </p:grpSpPr>
            <p:sp>
              <p:nvSpPr>
                <p:cNvPr id="163" name="Freeform 47"/>
                <p:cNvSpPr>
                  <a:spLocks noEditPoints="1"/>
                </p:cNvSpPr>
                <p:nvPr/>
              </p:nvSpPr>
              <p:spPr bwMode="gray">
                <a:xfrm>
                  <a:off x="6969126" y="1104900"/>
                  <a:ext cx="220663" cy="220662"/>
                </a:xfrm>
                <a:custGeom>
                  <a:avLst/>
                  <a:gdLst>
                    <a:gd name="T0" fmla="*/ 176 w 176"/>
                    <a:gd name="T1" fmla="*/ 99 h 176"/>
                    <a:gd name="T2" fmla="*/ 172 w 176"/>
                    <a:gd name="T3" fmla="*/ 73 h 176"/>
                    <a:gd name="T4" fmla="*/ 151 w 176"/>
                    <a:gd name="T5" fmla="*/ 70 h 176"/>
                    <a:gd name="T6" fmla="*/ 147 w 176"/>
                    <a:gd name="T7" fmla="*/ 50 h 176"/>
                    <a:gd name="T8" fmla="*/ 158 w 176"/>
                    <a:gd name="T9" fmla="*/ 33 h 176"/>
                    <a:gd name="T10" fmla="*/ 137 w 176"/>
                    <a:gd name="T11" fmla="*/ 18 h 176"/>
                    <a:gd name="T12" fmla="*/ 120 w 176"/>
                    <a:gd name="T13" fmla="*/ 31 h 176"/>
                    <a:gd name="T14" fmla="*/ 103 w 176"/>
                    <a:gd name="T15" fmla="*/ 20 h 176"/>
                    <a:gd name="T16" fmla="*/ 99 w 176"/>
                    <a:gd name="T17" fmla="*/ 0 h 176"/>
                    <a:gd name="T18" fmla="*/ 74 w 176"/>
                    <a:gd name="T19" fmla="*/ 4 h 176"/>
                    <a:gd name="T20" fmla="*/ 70 w 176"/>
                    <a:gd name="T21" fmla="*/ 25 h 176"/>
                    <a:gd name="T22" fmla="*/ 50 w 176"/>
                    <a:gd name="T23" fmla="*/ 30 h 176"/>
                    <a:gd name="T24" fmla="*/ 34 w 176"/>
                    <a:gd name="T25" fmla="*/ 18 h 176"/>
                    <a:gd name="T26" fmla="*/ 19 w 176"/>
                    <a:gd name="T27" fmla="*/ 39 h 176"/>
                    <a:gd name="T28" fmla="*/ 31 w 176"/>
                    <a:gd name="T29" fmla="*/ 57 h 176"/>
                    <a:gd name="T30" fmla="*/ 20 w 176"/>
                    <a:gd name="T31" fmla="*/ 73 h 176"/>
                    <a:gd name="T32" fmla="*/ 0 w 176"/>
                    <a:gd name="T33" fmla="*/ 77 h 176"/>
                    <a:gd name="T34" fmla="*/ 4 w 176"/>
                    <a:gd name="T35" fmla="*/ 103 h 176"/>
                    <a:gd name="T36" fmla="*/ 25 w 176"/>
                    <a:gd name="T37" fmla="*/ 106 h 176"/>
                    <a:gd name="T38" fmla="*/ 30 w 176"/>
                    <a:gd name="T39" fmla="*/ 126 h 176"/>
                    <a:gd name="T40" fmla="*/ 19 w 176"/>
                    <a:gd name="T41" fmla="*/ 142 h 176"/>
                    <a:gd name="T42" fmla="*/ 39 w 176"/>
                    <a:gd name="T43" fmla="*/ 157 h 176"/>
                    <a:gd name="T44" fmla="*/ 57 w 176"/>
                    <a:gd name="T45" fmla="*/ 145 h 176"/>
                    <a:gd name="T46" fmla="*/ 73 w 176"/>
                    <a:gd name="T47" fmla="*/ 156 h 176"/>
                    <a:gd name="T48" fmla="*/ 77 w 176"/>
                    <a:gd name="T49" fmla="*/ 176 h 176"/>
                    <a:gd name="T50" fmla="*/ 103 w 176"/>
                    <a:gd name="T51" fmla="*/ 172 h 176"/>
                    <a:gd name="T52" fmla="*/ 107 w 176"/>
                    <a:gd name="T53" fmla="*/ 151 h 176"/>
                    <a:gd name="T54" fmla="*/ 126 w 176"/>
                    <a:gd name="T55" fmla="*/ 146 h 176"/>
                    <a:gd name="T56" fmla="*/ 143 w 176"/>
                    <a:gd name="T57" fmla="*/ 157 h 176"/>
                    <a:gd name="T58" fmla="*/ 158 w 176"/>
                    <a:gd name="T59" fmla="*/ 137 h 176"/>
                    <a:gd name="T60" fmla="*/ 146 w 176"/>
                    <a:gd name="T61" fmla="*/ 119 h 176"/>
                    <a:gd name="T62" fmla="*/ 156 w 176"/>
                    <a:gd name="T63" fmla="*/ 103 h 176"/>
                    <a:gd name="T64" fmla="*/ 88 w 176"/>
                    <a:gd name="T65" fmla="*/ 126 h 176"/>
                    <a:gd name="T66" fmla="*/ 88 w 176"/>
                    <a:gd name="T67" fmla="*/ 50 h 176"/>
                    <a:gd name="T68" fmla="*/ 88 w 176"/>
                    <a:gd name="T69" fmla="*/ 126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76" h="176">
                      <a:moveTo>
                        <a:pt x="172" y="103"/>
                      </a:moveTo>
                      <a:cubicBezTo>
                        <a:pt x="174" y="103"/>
                        <a:pt x="176" y="101"/>
                        <a:pt x="176" y="99"/>
                      </a:cubicBezTo>
                      <a:cubicBezTo>
                        <a:pt x="176" y="77"/>
                        <a:pt x="176" y="77"/>
                        <a:pt x="176" y="77"/>
                      </a:cubicBezTo>
                      <a:cubicBezTo>
                        <a:pt x="176" y="75"/>
                        <a:pt x="174" y="73"/>
                        <a:pt x="172" y="73"/>
                      </a:cubicBezTo>
                      <a:cubicBezTo>
                        <a:pt x="156" y="73"/>
                        <a:pt x="156" y="73"/>
                        <a:pt x="156" y="73"/>
                      </a:cubicBezTo>
                      <a:cubicBezTo>
                        <a:pt x="154" y="73"/>
                        <a:pt x="152" y="72"/>
                        <a:pt x="151" y="70"/>
                      </a:cubicBezTo>
                      <a:cubicBezTo>
                        <a:pt x="146" y="57"/>
                        <a:pt x="146" y="57"/>
                        <a:pt x="146" y="57"/>
                      </a:cubicBezTo>
                      <a:cubicBezTo>
                        <a:pt x="145" y="55"/>
                        <a:pt x="145" y="52"/>
                        <a:pt x="147" y="50"/>
                      </a:cubicBezTo>
                      <a:cubicBezTo>
                        <a:pt x="158" y="39"/>
                        <a:pt x="158" y="39"/>
                        <a:pt x="158" y="39"/>
                      </a:cubicBezTo>
                      <a:cubicBezTo>
                        <a:pt x="159" y="38"/>
                        <a:pt x="159" y="35"/>
                        <a:pt x="158" y="33"/>
                      </a:cubicBezTo>
                      <a:cubicBezTo>
                        <a:pt x="143" y="18"/>
                        <a:pt x="143" y="18"/>
                        <a:pt x="143" y="18"/>
                      </a:cubicBezTo>
                      <a:cubicBezTo>
                        <a:pt x="141" y="17"/>
                        <a:pt x="139" y="17"/>
                        <a:pt x="137" y="18"/>
                      </a:cubicBezTo>
                      <a:cubicBezTo>
                        <a:pt x="126" y="30"/>
                        <a:pt x="126" y="30"/>
                        <a:pt x="126" y="30"/>
                      </a:cubicBezTo>
                      <a:cubicBezTo>
                        <a:pt x="124" y="31"/>
                        <a:pt x="121" y="32"/>
                        <a:pt x="120" y="31"/>
                      </a:cubicBezTo>
                      <a:cubicBezTo>
                        <a:pt x="107" y="25"/>
                        <a:pt x="107" y="25"/>
                        <a:pt x="107" y="25"/>
                      </a:cubicBezTo>
                      <a:cubicBezTo>
                        <a:pt x="104" y="24"/>
                        <a:pt x="103" y="22"/>
                        <a:pt x="103" y="20"/>
                      </a:cubicBezTo>
                      <a:cubicBezTo>
                        <a:pt x="103" y="4"/>
                        <a:pt x="103" y="4"/>
                        <a:pt x="103" y="4"/>
                      </a:cubicBezTo>
                      <a:cubicBezTo>
                        <a:pt x="103" y="2"/>
                        <a:pt x="101" y="0"/>
                        <a:pt x="99" y="0"/>
                      </a:cubicBezTo>
                      <a:cubicBezTo>
                        <a:pt x="78" y="0"/>
                        <a:pt x="78" y="0"/>
                        <a:pt x="78" y="0"/>
                      </a:cubicBezTo>
                      <a:cubicBezTo>
                        <a:pt x="75" y="0"/>
                        <a:pt x="74" y="2"/>
                        <a:pt x="74" y="4"/>
                      </a:cubicBezTo>
                      <a:cubicBezTo>
                        <a:pt x="74" y="20"/>
                        <a:pt x="74" y="20"/>
                        <a:pt x="74" y="20"/>
                      </a:cubicBezTo>
                      <a:cubicBezTo>
                        <a:pt x="74" y="22"/>
                        <a:pt x="72" y="24"/>
                        <a:pt x="70" y="25"/>
                      </a:cubicBezTo>
                      <a:cubicBezTo>
                        <a:pt x="57" y="31"/>
                        <a:pt x="57" y="31"/>
                        <a:pt x="57" y="31"/>
                      </a:cubicBezTo>
                      <a:cubicBezTo>
                        <a:pt x="55" y="32"/>
                        <a:pt x="52" y="31"/>
                        <a:pt x="50" y="30"/>
                      </a:cubicBezTo>
                      <a:cubicBezTo>
                        <a:pt x="39" y="18"/>
                        <a:pt x="39" y="18"/>
                        <a:pt x="39" y="18"/>
                      </a:cubicBezTo>
                      <a:cubicBezTo>
                        <a:pt x="38" y="17"/>
                        <a:pt x="35" y="17"/>
                        <a:pt x="34" y="18"/>
                      </a:cubicBezTo>
                      <a:cubicBezTo>
                        <a:pt x="19" y="33"/>
                        <a:pt x="19" y="33"/>
                        <a:pt x="19" y="33"/>
                      </a:cubicBezTo>
                      <a:cubicBezTo>
                        <a:pt x="17" y="35"/>
                        <a:pt x="17" y="38"/>
                        <a:pt x="19" y="39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1" y="52"/>
                        <a:pt x="32" y="55"/>
                        <a:pt x="31" y="57"/>
                      </a:cubicBezTo>
                      <a:cubicBezTo>
                        <a:pt x="25" y="70"/>
                        <a:pt x="25" y="70"/>
                        <a:pt x="25" y="70"/>
                      </a:cubicBezTo>
                      <a:cubicBezTo>
                        <a:pt x="25" y="72"/>
                        <a:pt x="22" y="73"/>
                        <a:pt x="20" y="73"/>
                      </a:cubicBezTo>
                      <a:cubicBezTo>
                        <a:pt x="4" y="73"/>
                        <a:pt x="4" y="73"/>
                        <a:pt x="4" y="73"/>
                      </a:cubicBezTo>
                      <a:cubicBezTo>
                        <a:pt x="2" y="73"/>
                        <a:pt x="0" y="75"/>
                        <a:pt x="0" y="77"/>
                      </a:cubicBezTo>
                      <a:cubicBezTo>
                        <a:pt x="0" y="99"/>
                        <a:pt x="0" y="99"/>
                        <a:pt x="0" y="99"/>
                      </a:cubicBezTo>
                      <a:cubicBezTo>
                        <a:pt x="0" y="101"/>
                        <a:pt x="2" y="103"/>
                        <a:pt x="4" y="103"/>
                      </a:cubicBezTo>
                      <a:cubicBezTo>
                        <a:pt x="20" y="103"/>
                        <a:pt x="20" y="103"/>
                        <a:pt x="20" y="103"/>
                      </a:cubicBezTo>
                      <a:cubicBezTo>
                        <a:pt x="22" y="103"/>
                        <a:pt x="25" y="104"/>
                        <a:pt x="25" y="106"/>
                      </a:cubicBezTo>
                      <a:cubicBezTo>
                        <a:pt x="31" y="119"/>
                        <a:pt x="31" y="119"/>
                        <a:pt x="31" y="119"/>
                      </a:cubicBezTo>
                      <a:cubicBezTo>
                        <a:pt x="32" y="121"/>
                        <a:pt x="31" y="124"/>
                        <a:pt x="30" y="126"/>
                      </a:cubicBezTo>
                      <a:cubicBezTo>
                        <a:pt x="19" y="137"/>
                        <a:pt x="19" y="137"/>
                        <a:pt x="19" y="137"/>
                      </a:cubicBezTo>
                      <a:cubicBezTo>
                        <a:pt x="17" y="138"/>
                        <a:pt x="17" y="141"/>
                        <a:pt x="19" y="142"/>
                      </a:cubicBezTo>
                      <a:cubicBezTo>
                        <a:pt x="34" y="157"/>
                        <a:pt x="34" y="157"/>
                        <a:pt x="34" y="157"/>
                      </a:cubicBezTo>
                      <a:cubicBezTo>
                        <a:pt x="35" y="159"/>
                        <a:pt x="38" y="159"/>
                        <a:pt x="39" y="157"/>
                      </a:cubicBezTo>
                      <a:cubicBezTo>
                        <a:pt x="50" y="146"/>
                        <a:pt x="50" y="146"/>
                        <a:pt x="50" y="146"/>
                      </a:cubicBezTo>
                      <a:cubicBezTo>
                        <a:pt x="52" y="145"/>
                        <a:pt x="55" y="144"/>
                        <a:pt x="57" y="145"/>
                      </a:cubicBezTo>
                      <a:cubicBezTo>
                        <a:pt x="70" y="151"/>
                        <a:pt x="70" y="151"/>
                        <a:pt x="70" y="151"/>
                      </a:cubicBezTo>
                      <a:cubicBezTo>
                        <a:pt x="72" y="152"/>
                        <a:pt x="73" y="154"/>
                        <a:pt x="73" y="156"/>
                      </a:cubicBezTo>
                      <a:cubicBezTo>
                        <a:pt x="73" y="172"/>
                        <a:pt x="73" y="172"/>
                        <a:pt x="73" y="172"/>
                      </a:cubicBezTo>
                      <a:cubicBezTo>
                        <a:pt x="73" y="174"/>
                        <a:pt x="75" y="176"/>
                        <a:pt x="77" y="176"/>
                      </a:cubicBezTo>
                      <a:cubicBezTo>
                        <a:pt x="99" y="176"/>
                        <a:pt x="99" y="176"/>
                        <a:pt x="99" y="176"/>
                      </a:cubicBezTo>
                      <a:cubicBezTo>
                        <a:pt x="101" y="176"/>
                        <a:pt x="103" y="174"/>
                        <a:pt x="103" y="172"/>
                      </a:cubicBezTo>
                      <a:cubicBezTo>
                        <a:pt x="103" y="156"/>
                        <a:pt x="103" y="156"/>
                        <a:pt x="103" y="156"/>
                      </a:cubicBezTo>
                      <a:cubicBezTo>
                        <a:pt x="103" y="154"/>
                        <a:pt x="104" y="152"/>
                        <a:pt x="107" y="151"/>
                      </a:cubicBezTo>
                      <a:cubicBezTo>
                        <a:pt x="120" y="145"/>
                        <a:pt x="120" y="145"/>
                        <a:pt x="120" y="145"/>
                      </a:cubicBezTo>
                      <a:cubicBezTo>
                        <a:pt x="121" y="144"/>
                        <a:pt x="124" y="145"/>
                        <a:pt x="126" y="146"/>
                      </a:cubicBezTo>
                      <a:cubicBezTo>
                        <a:pt x="137" y="157"/>
                        <a:pt x="137" y="157"/>
                        <a:pt x="137" y="157"/>
                      </a:cubicBezTo>
                      <a:cubicBezTo>
                        <a:pt x="139" y="159"/>
                        <a:pt x="141" y="159"/>
                        <a:pt x="143" y="157"/>
                      </a:cubicBezTo>
                      <a:cubicBezTo>
                        <a:pt x="158" y="142"/>
                        <a:pt x="158" y="142"/>
                        <a:pt x="158" y="142"/>
                      </a:cubicBezTo>
                      <a:cubicBezTo>
                        <a:pt x="159" y="141"/>
                        <a:pt x="159" y="138"/>
                        <a:pt x="158" y="137"/>
                      </a:cubicBezTo>
                      <a:cubicBezTo>
                        <a:pt x="147" y="126"/>
                        <a:pt x="147" y="126"/>
                        <a:pt x="147" y="126"/>
                      </a:cubicBezTo>
                      <a:cubicBezTo>
                        <a:pt x="145" y="124"/>
                        <a:pt x="145" y="121"/>
                        <a:pt x="146" y="119"/>
                      </a:cubicBezTo>
                      <a:cubicBezTo>
                        <a:pt x="151" y="106"/>
                        <a:pt x="151" y="106"/>
                        <a:pt x="151" y="106"/>
                      </a:cubicBezTo>
                      <a:cubicBezTo>
                        <a:pt x="152" y="104"/>
                        <a:pt x="154" y="103"/>
                        <a:pt x="156" y="103"/>
                      </a:cubicBezTo>
                      <a:lnTo>
                        <a:pt x="172" y="103"/>
                      </a:lnTo>
                      <a:close/>
                      <a:moveTo>
                        <a:pt x="88" y="126"/>
                      </a:moveTo>
                      <a:cubicBezTo>
                        <a:pt x="67" y="126"/>
                        <a:pt x="50" y="109"/>
                        <a:pt x="50" y="88"/>
                      </a:cubicBezTo>
                      <a:cubicBezTo>
                        <a:pt x="50" y="67"/>
                        <a:pt x="67" y="50"/>
                        <a:pt x="88" y="50"/>
                      </a:cubicBezTo>
                      <a:cubicBezTo>
                        <a:pt x="109" y="50"/>
                        <a:pt x="126" y="67"/>
                        <a:pt x="126" y="88"/>
                      </a:cubicBezTo>
                      <a:cubicBezTo>
                        <a:pt x="126" y="109"/>
                        <a:pt x="109" y="126"/>
                        <a:pt x="88" y="1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F5494"/>
                    </a:solidFill>
                  </a:endParaRPr>
                </a:p>
              </p:txBody>
            </p:sp>
            <p:sp>
              <p:nvSpPr>
                <p:cNvPr id="164" name="Freeform 48"/>
                <p:cNvSpPr>
                  <a:spLocks noEditPoints="1"/>
                </p:cNvSpPr>
                <p:nvPr/>
              </p:nvSpPr>
              <p:spPr bwMode="gray">
                <a:xfrm>
                  <a:off x="7146926" y="1303338"/>
                  <a:ext cx="109538" cy="111125"/>
                </a:xfrm>
                <a:custGeom>
                  <a:avLst/>
                  <a:gdLst>
                    <a:gd name="T0" fmla="*/ 87 w 87"/>
                    <a:gd name="T1" fmla="*/ 49 h 88"/>
                    <a:gd name="T2" fmla="*/ 85 w 87"/>
                    <a:gd name="T3" fmla="*/ 37 h 88"/>
                    <a:gd name="T4" fmla="*/ 75 w 87"/>
                    <a:gd name="T5" fmla="*/ 35 h 88"/>
                    <a:gd name="T6" fmla="*/ 73 w 87"/>
                    <a:gd name="T7" fmla="*/ 25 h 88"/>
                    <a:gd name="T8" fmla="*/ 78 w 87"/>
                    <a:gd name="T9" fmla="*/ 17 h 88"/>
                    <a:gd name="T10" fmla="*/ 68 w 87"/>
                    <a:gd name="T11" fmla="*/ 9 h 88"/>
                    <a:gd name="T12" fmla="*/ 59 w 87"/>
                    <a:gd name="T13" fmla="*/ 15 h 88"/>
                    <a:gd name="T14" fmla="*/ 51 w 87"/>
                    <a:gd name="T15" fmla="*/ 10 h 88"/>
                    <a:gd name="T16" fmla="*/ 49 w 87"/>
                    <a:gd name="T17" fmla="*/ 0 h 88"/>
                    <a:gd name="T18" fmla="*/ 36 w 87"/>
                    <a:gd name="T19" fmla="*/ 2 h 88"/>
                    <a:gd name="T20" fmla="*/ 34 w 87"/>
                    <a:gd name="T21" fmla="*/ 13 h 88"/>
                    <a:gd name="T22" fmla="*/ 25 w 87"/>
                    <a:gd name="T23" fmla="*/ 15 h 88"/>
                    <a:gd name="T24" fmla="*/ 16 w 87"/>
                    <a:gd name="T25" fmla="*/ 9 h 88"/>
                    <a:gd name="T26" fmla="*/ 9 w 87"/>
                    <a:gd name="T27" fmla="*/ 20 h 88"/>
                    <a:gd name="T28" fmla="*/ 15 w 87"/>
                    <a:gd name="T29" fmla="*/ 28 h 88"/>
                    <a:gd name="T30" fmla="*/ 10 w 87"/>
                    <a:gd name="T31" fmla="*/ 37 h 88"/>
                    <a:gd name="T32" fmla="*/ 0 w 87"/>
                    <a:gd name="T33" fmla="*/ 39 h 88"/>
                    <a:gd name="T34" fmla="*/ 2 w 87"/>
                    <a:gd name="T35" fmla="*/ 51 h 88"/>
                    <a:gd name="T36" fmla="*/ 12 w 87"/>
                    <a:gd name="T37" fmla="*/ 53 h 88"/>
                    <a:gd name="T38" fmla="*/ 14 w 87"/>
                    <a:gd name="T39" fmla="*/ 63 h 88"/>
                    <a:gd name="T40" fmla="*/ 9 w 87"/>
                    <a:gd name="T41" fmla="*/ 71 h 88"/>
                    <a:gd name="T42" fmla="*/ 19 w 87"/>
                    <a:gd name="T43" fmla="*/ 79 h 88"/>
                    <a:gd name="T44" fmla="*/ 28 w 87"/>
                    <a:gd name="T45" fmla="*/ 73 h 88"/>
                    <a:gd name="T46" fmla="*/ 36 w 87"/>
                    <a:gd name="T47" fmla="*/ 78 h 88"/>
                    <a:gd name="T48" fmla="*/ 38 w 87"/>
                    <a:gd name="T49" fmla="*/ 88 h 88"/>
                    <a:gd name="T50" fmla="*/ 51 w 87"/>
                    <a:gd name="T51" fmla="*/ 86 h 88"/>
                    <a:gd name="T52" fmla="*/ 53 w 87"/>
                    <a:gd name="T53" fmla="*/ 75 h 88"/>
                    <a:gd name="T54" fmla="*/ 62 w 87"/>
                    <a:gd name="T55" fmla="*/ 73 h 88"/>
                    <a:gd name="T56" fmla="*/ 71 w 87"/>
                    <a:gd name="T57" fmla="*/ 79 h 88"/>
                    <a:gd name="T58" fmla="*/ 78 w 87"/>
                    <a:gd name="T59" fmla="*/ 68 h 88"/>
                    <a:gd name="T60" fmla="*/ 72 w 87"/>
                    <a:gd name="T61" fmla="*/ 60 h 88"/>
                    <a:gd name="T62" fmla="*/ 78 w 87"/>
                    <a:gd name="T63" fmla="*/ 51 h 88"/>
                    <a:gd name="T64" fmla="*/ 58 w 87"/>
                    <a:gd name="T65" fmla="*/ 44 h 88"/>
                    <a:gd name="T66" fmla="*/ 29 w 87"/>
                    <a:gd name="T67" fmla="*/ 44 h 88"/>
                    <a:gd name="T68" fmla="*/ 58 w 87"/>
                    <a:gd name="T69" fmla="*/ 44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87" h="88">
                      <a:moveTo>
                        <a:pt x="85" y="51"/>
                      </a:moveTo>
                      <a:cubicBezTo>
                        <a:pt x="86" y="51"/>
                        <a:pt x="87" y="50"/>
                        <a:pt x="87" y="49"/>
                      </a:cubicBezTo>
                      <a:cubicBezTo>
                        <a:pt x="87" y="39"/>
                        <a:pt x="87" y="39"/>
                        <a:pt x="87" y="39"/>
                      </a:cubicBezTo>
                      <a:cubicBezTo>
                        <a:pt x="87" y="38"/>
                        <a:pt x="86" y="37"/>
                        <a:pt x="85" y="37"/>
                      </a:cubicBezTo>
                      <a:cubicBezTo>
                        <a:pt x="78" y="37"/>
                        <a:pt x="78" y="37"/>
                        <a:pt x="78" y="37"/>
                      </a:cubicBezTo>
                      <a:cubicBezTo>
                        <a:pt x="77" y="37"/>
                        <a:pt x="75" y="36"/>
                        <a:pt x="75" y="35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27"/>
                        <a:pt x="72" y="26"/>
                        <a:pt x="73" y="25"/>
                      </a:cubicBezTo>
                      <a:cubicBezTo>
                        <a:pt x="78" y="20"/>
                        <a:pt x="78" y="20"/>
                        <a:pt x="78" y="20"/>
                      </a:cubicBezTo>
                      <a:cubicBezTo>
                        <a:pt x="79" y="19"/>
                        <a:pt x="79" y="17"/>
                        <a:pt x="78" y="17"/>
                      </a:cubicBezTo>
                      <a:cubicBezTo>
                        <a:pt x="71" y="9"/>
                        <a:pt x="71" y="9"/>
                        <a:pt x="71" y="9"/>
                      </a:cubicBezTo>
                      <a:cubicBezTo>
                        <a:pt x="70" y="8"/>
                        <a:pt x="69" y="8"/>
                        <a:pt x="68" y="9"/>
                      </a:cubicBezTo>
                      <a:cubicBezTo>
                        <a:pt x="62" y="15"/>
                        <a:pt x="62" y="15"/>
                        <a:pt x="62" y="15"/>
                      </a:cubicBezTo>
                      <a:cubicBezTo>
                        <a:pt x="62" y="15"/>
                        <a:pt x="60" y="16"/>
                        <a:pt x="59" y="15"/>
                      </a:cubicBezTo>
                      <a:cubicBezTo>
                        <a:pt x="53" y="13"/>
                        <a:pt x="53" y="13"/>
                        <a:pt x="53" y="13"/>
                      </a:cubicBezTo>
                      <a:cubicBezTo>
                        <a:pt x="52" y="12"/>
                        <a:pt x="51" y="11"/>
                        <a:pt x="51" y="1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1" y="1"/>
                        <a:pt x="50" y="0"/>
                        <a:pt x="49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37" y="0"/>
                        <a:pt x="36" y="1"/>
                        <a:pt x="36" y="2"/>
                      </a:cubicBezTo>
                      <a:cubicBezTo>
                        <a:pt x="36" y="10"/>
                        <a:pt x="36" y="10"/>
                        <a:pt x="36" y="10"/>
                      </a:cubicBezTo>
                      <a:cubicBezTo>
                        <a:pt x="36" y="11"/>
                        <a:pt x="35" y="12"/>
                        <a:pt x="34" y="13"/>
                      </a:cubicBezTo>
                      <a:cubicBezTo>
                        <a:pt x="28" y="15"/>
                        <a:pt x="28" y="15"/>
                        <a:pt x="28" y="15"/>
                      </a:cubicBezTo>
                      <a:cubicBezTo>
                        <a:pt x="27" y="16"/>
                        <a:pt x="25" y="15"/>
                        <a:pt x="25" y="15"/>
                      </a:cubicBezTo>
                      <a:cubicBezTo>
                        <a:pt x="19" y="9"/>
                        <a:pt x="19" y="9"/>
                        <a:pt x="19" y="9"/>
                      </a:cubicBezTo>
                      <a:cubicBezTo>
                        <a:pt x="18" y="8"/>
                        <a:pt x="17" y="8"/>
                        <a:pt x="16" y="9"/>
                      </a:cubicBezTo>
                      <a:cubicBezTo>
                        <a:pt x="9" y="17"/>
                        <a:pt x="9" y="17"/>
                        <a:pt x="9" y="17"/>
                      </a:cubicBezTo>
                      <a:cubicBezTo>
                        <a:pt x="8" y="17"/>
                        <a:pt x="8" y="19"/>
                        <a:pt x="9" y="20"/>
                      </a:cubicBezTo>
                      <a:cubicBezTo>
                        <a:pt x="14" y="25"/>
                        <a:pt x="14" y="25"/>
                        <a:pt x="14" y="25"/>
                      </a:cubicBezTo>
                      <a:cubicBezTo>
                        <a:pt x="15" y="26"/>
                        <a:pt x="15" y="27"/>
                        <a:pt x="15" y="28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2" y="36"/>
                        <a:pt x="11" y="37"/>
                        <a:pt x="10" y="37"/>
                      </a:cubicBezTo>
                      <a:cubicBezTo>
                        <a:pt x="2" y="37"/>
                        <a:pt x="2" y="37"/>
                        <a:pt x="2" y="37"/>
                      </a:cubicBezTo>
                      <a:cubicBezTo>
                        <a:pt x="1" y="37"/>
                        <a:pt x="0" y="38"/>
                        <a:pt x="0" y="39"/>
                      </a:cubicBezTo>
                      <a:cubicBezTo>
                        <a:pt x="0" y="49"/>
                        <a:pt x="0" y="49"/>
                        <a:pt x="0" y="49"/>
                      </a:cubicBezTo>
                      <a:cubicBezTo>
                        <a:pt x="0" y="50"/>
                        <a:pt x="1" y="51"/>
                        <a:pt x="2" y="51"/>
                      </a:cubicBezTo>
                      <a:cubicBezTo>
                        <a:pt x="10" y="51"/>
                        <a:pt x="10" y="51"/>
                        <a:pt x="10" y="51"/>
                      </a:cubicBezTo>
                      <a:cubicBezTo>
                        <a:pt x="11" y="51"/>
                        <a:pt x="12" y="52"/>
                        <a:pt x="12" y="53"/>
                      </a:cubicBezTo>
                      <a:cubicBezTo>
                        <a:pt x="15" y="60"/>
                        <a:pt x="15" y="60"/>
                        <a:pt x="15" y="60"/>
                      </a:cubicBezTo>
                      <a:cubicBezTo>
                        <a:pt x="15" y="61"/>
                        <a:pt x="15" y="62"/>
                        <a:pt x="14" y="63"/>
                      </a:cubicBezTo>
                      <a:cubicBezTo>
                        <a:pt x="9" y="68"/>
                        <a:pt x="9" y="68"/>
                        <a:pt x="9" y="68"/>
                      </a:cubicBezTo>
                      <a:cubicBezTo>
                        <a:pt x="8" y="69"/>
                        <a:pt x="8" y="70"/>
                        <a:pt x="9" y="71"/>
                      </a:cubicBezTo>
                      <a:cubicBezTo>
                        <a:pt x="16" y="79"/>
                        <a:pt x="16" y="79"/>
                        <a:pt x="16" y="79"/>
                      </a:cubicBezTo>
                      <a:cubicBezTo>
                        <a:pt x="17" y="79"/>
                        <a:pt x="18" y="79"/>
                        <a:pt x="19" y="79"/>
                      </a:cubicBezTo>
                      <a:cubicBezTo>
                        <a:pt x="25" y="73"/>
                        <a:pt x="25" y="73"/>
                        <a:pt x="25" y="73"/>
                      </a:cubicBezTo>
                      <a:cubicBezTo>
                        <a:pt x="25" y="72"/>
                        <a:pt x="27" y="72"/>
                        <a:pt x="28" y="73"/>
                      </a:cubicBezTo>
                      <a:cubicBezTo>
                        <a:pt x="34" y="75"/>
                        <a:pt x="34" y="75"/>
                        <a:pt x="34" y="75"/>
                      </a:cubicBezTo>
                      <a:cubicBezTo>
                        <a:pt x="35" y="76"/>
                        <a:pt x="36" y="77"/>
                        <a:pt x="36" y="78"/>
                      </a:cubicBezTo>
                      <a:cubicBezTo>
                        <a:pt x="36" y="86"/>
                        <a:pt x="36" y="86"/>
                        <a:pt x="36" y="86"/>
                      </a:cubicBezTo>
                      <a:cubicBezTo>
                        <a:pt x="36" y="87"/>
                        <a:pt x="37" y="88"/>
                        <a:pt x="38" y="88"/>
                      </a:cubicBezTo>
                      <a:cubicBezTo>
                        <a:pt x="49" y="88"/>
                        <a:pt x="49" y="88"/>
                        <a:pt x="49" y="88"/>
                      </a:cubicBezTo>
                      <a:cubicBezTo>
                        <a:pt x="50" y="88"/>
                        <a:pt x="51" y="87"/>
                        <a:pt x="51" y="86"/>
                      </a:cubicBezTo>
                      <a:cubicBezTo>
                        <a:pt x="51" y="78"/>
                        <a:pt x="51" y="78"/>
                        <a:pt x="51" y="78"/>
                      </a:cubicBezTo>
                      <a:cubicBezTo>
                        <a:pt x="51" y="77"/>
                        <a:pt x="52" y="76"/>
                        <a:pt x="53" y="75"/>
                      </a:cubicBezTo>
                      <a:cubicBezTo>
                        <a:pt x="59" y="73"/>
                        <a:pt x="59" y="73"/>
                        <a:pt x="59" y="73"/>
                      </a:cubicBezTo>
                      <a:cubicBezTo>
                        <a:pt x="60" y="72"/>
                        <a:pt x="62" y="72"/>
                        <a:pt x="62" y="73"/>
                      </a:cubicBezTo>
                      <a:cubicBezTo>
                        <a:pt x="68" y="79"/>
                        <a:pt x="68" y="79"/>
                        <a:pt x="68" y="79"/>
                      </a:cubicBezTo>
                      <a:cubicBezTo>
                        <a:pt x="69" y="79"/>
                        <a:pt x="70" y="79"/>
                        <a:pt x="71" y="79"/>
                      </a:cubicBezTo>
                      <a:cubicBezTo>
                        <a:pt x="78" y="71"/>
                        <a:pt x="78" y="71"/>
                        <a:pt x="78" y="71"/>
                      </a:cubicBezTo>
                      <a:cubicBezTo>
                        <a:pt x="79" y="70"/>
                        <a:pt x="79" y="69"/>
                        <a:pt x="78" y="68"/>
                      </a:cubicBezTo>
                      <a:cubicBezTo>
                        <a:pt x="73" y="63"/>
                        <a:pt x="73" y="63"/>
                        <a:pt x="73" y="63"/>
                      </a:cubicBezTo>
                      <a:cubicBezTo>
                        <a:pt x="72" y="62"/>
                        <a:pt x="72" y="61"/>
                        <a:pt x="72" y="60"/>
                      </a:cubicBezTo>
                      <a:cubicBezTo>
                        <a:pt x="75" y="53"/>
                        <a:pt x="75" y="53"/>
                        <a:pt x="75" y="53"/>
                      </a:cubicBezTo>
                      <a:cubicBezTo>
                        <a:pt x="75" y="52"/>
                        <a:pt x="76" y="51"/>
                        <a:pt x="78" y="51"/>
                      </a:cubicBezTo>
                      <a:lnTo>
                        <a:pt x="85" y="51"/>
                      </a:lnTo>
                      <a:close/>
                      <a:moveTo>
                        <a:pt x="58" y="44"/>
                      </a:moveTo>
                      <a:cubicBezTo>
                        <a:pt x="58" y="52"/>
                        <a:pt x="52" y="59"/>
                        <a:pt x="44" y="59"/>
                      </a:cubicBezTo>
                      <a:cubicBezTo>
                        <a:pt x="35" y="59"/>
                        <a:pt x="29" y="52"/>
                        <a:pt x="29" y="44"/>
                      </a:cubicBezTo>
                      <a:cubicBezTo>
                        <a:pt x="29" y="36"/>
                        <a:pt x="35" y="29"/>
                        <a:pt x="44" y="29"/>
                      </a:cubicBezTo>
                      <a:cubicBezTo>
                        <a:pt x="52" y="29"/>
                        <a:pt x="58" y="36"/>
                        <a:pt x="58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F5494"/>
                    </a:solidFill>
                  </a:endParaRPr>
                </a:p>
              </p:txBody>
            </p:sp>
          </p:grpSp>
          <p:sp>
            <p:nvSpPr>
              <p:cNvPr id="131" name="Freeform 6"/>
              <p:cNvSpPr>
                <a:spLocks/>
              </p:cNvSpPr>
              <p:nvPr/>
            </p:nvSpPr>
            <p:spPr bwMode="gray">
              <a:xfrm rot="2551333">
                <a:off x="210594" y="2504499"/>
                <a:ext cx="575163" cy="396000"/>
              </a:xfrm>
              <a:custGeom>
                <a:avLst/>
                <a:gdLst>
                  <a:gd name="T0" fmla="*/ 179 w 202"/>
                  <a:gd name="T1" fmla="*/ 121 h 162"/>
                  <a:gd name="T2" fmla="*/ 131 w 202"/>
                  <a:gd name="T3" fmla="*/ 136 h 162"/>
                  <a:gd name="T4" fmla="*/ 124 w 202"/>
                  <a:gd name="T5" fmla="*/ 135 h 162"/>
                  <a:gd name="T6" fmla="*/ 121 w 202"/>
                  <a:gd name="T7" fmla="*/ 135 h 162"/>
                  <a:gd name="T8" fmla="*/ 116 w 202"/>
                  <a:gd name="T9" fmla="*/ 134 h 162"/>
                  <a:gd name="T10" fmla="*/ 113 w 202"/>
                  <a:gd name="T11" fmla="*/ 134 h 162"/>
                  <a:gd name="T12" fmla="*/ 108 w 202"/>
                  <a:gd name="T13" fmla="*/ 132 h 162"/>
                  <a:gd name="T14" fmla="*/ 105 w 202"/>
                  <a:gd name="T15" fmla="*/ 131 h 162"/>
                  <a:gd name="T16" fmla="*/ 100 w 202"/>
                  <a:gd name="T17" fmla="*/ 129 h 162"/>
                  <a:gd name="T18" fmla="*/ 98 w 202"/>
                  <a:gd name="T19" fmla="*/ 129 h 162"/>
                  <a:gd name="T20" fmla="*/ 92 w 202"/>
                  <a:gd name="T21" fmla="*/ 126 h 162"/>
                  <a:gd name="T22" fmla="*/ 92 w 202"/>
                  <a:gd name="T23" fmla="*/ 126 h 162"/>
                  <a:gd name="T24" fmla="*/ 73 w 202"/>
                  <a:gd name="T25" fmla="*/ 111 h 162"/>
                  <a:gd name="T26" fmla="*/ 73 w 202"/>
                  <a:gd name="T27" fmla="*/ 111 h 162"/>
                  <a:gd name="T28" fmla="*/ 68 w 202"/>
                  <a:gd name="T29" fmla="*/ 106 h 162"/>
                  <a:gd name="T30" fmla="*/ 67 w 202"/>
                  <a:gd name="T31" fmla="*/ 104 h 162"/>
                  <a:gd name="T32" fmla="*/ 48 w 202"/>
                  <a:gd name="T33" fmla="*/ 53 h 162"/>
                  <a:gd name="T34" fmla="*/ 70 w 202"/>
                  <a:gd name="T35" fmla="*/ 53 h 162"/>
                  <a:gd name="T36" fmla="*/ 35 w 202"/>
                  <a:gd name="T37" fmla="*/ 0 h 162"/>
                  <a:gd name="T38" fmla="*/ 0 w 202"/>
                  <a:gd name="T39" fmla="*/ 53 h 162"/>
                  <a:gd name="T40" fmla="*/ 22 w 202"/>
                  <a:gd name="T41" fmla="*/ 53 h 162"/>
                  <a:gd name="T42" fmla="*/ 42 w 202"/>
                  <a:gd name="T43" fmla="*/ 115 h 162"/>
                  <a:gd name="T44" fmla="*/ 42 w 202"/>
                  <a:gd name="T45" fmla="*/ 115 h 162"/>
                  <a:gd name="T46" fmla="*/ 46 w 202"/>
                  <a:gd name="T47" fmla="*/ 121 h 162"/>
                  <a:gd name="T48" fmla="*/ 47 w 202"/>
                  <a:gd name="T49" fmla="*/ 123 h 162"/>
                  <a:gd name="T50" fmla="*/ 54 w 202"/>
                  <a:gd name="T51" fmla="*/ 129 h 162"/>
                  <a:gd name="T52" fmla="*/ 54 w 202"/>
                  <a:gd name="T53" fmla="*/ 130 h 162"/>
                  <a:gd name="T54" fmla="*/ 79 w 202"/>
                  <a:gd name="T55" fmla="*/ 149 h 162"/>
                  <a:gd name="T56" fmla="*/ 80 w 202"/>
                  <a:gd name="T57" fmla="*/ 149 h 162"/>
                  <a:gd name="T58" fmla="*/ 88 w 202"/>
                  <a:gd name="T59" fmla="*/ 153 h 162"/>
                  <a:gd name="T60" fmla="*/ 90 w 202"/>
                  <a:gd name="T61" fmla="*/ 154 h 162"/>
                  <a:gd name="T62" fmla="*/ 97 w 202"/>
                  <a:gd name="T63" fmla="*/ 156 h 162"/>
                  <a:gd name="T64" fmla="*/ 100 w 202"/>
                  <a:gd name="T65" fmla="*/ 157 h 162"/>
                  <a:gd name="T66" fmla="*/ 107 w 202"/>
                  <a:gd name="T67" fmla="*/ 159 h 162"/>
                  <a:gd name="T68" fmla="*/ 111 w 202"/>
                  <a:gd name="T69" fmla="*/ 160 h 162"/>
                  <a:gd name="T70" fmla="*/ 113 w 202"/>
                  <a:gd name="T71" fmla="*/ 161 h 162"/>
                  <a:gd name="T72" fmla="*/ 119 w 202"/>
                  <a:gd name="T73" fmla="*/ 161 h 162"/>
                  <a:gd name="T74" fmla="*/ 121 w 202"/>
                  <a:gd name="T75" fmla="*/ 162 h 162"/>
                  <a:gd name="T76" fmla="*/ 132 w 202"/>
                  <a:gd name="T77" fmla="*/ 162 h 162"/>
                  <a:gd name="T78" fmla="*/ 195 w 202"/>
                  <a:gd name="T79" fmla="*/ 142 h 162"/>
                  <a:gd name="T80" fmla="*/ 198 w 202"/>
                  <a:gd name="T81" fmla="*/ 124 h 162"/>
                  <a:gd name="T82" fmla="*/ 179 w 202"/>
                  <a:gd name="T83" fmla="*/ 121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2" h="162">
                    <a:moveTo>
                      <a:pt x="179" y="121"/>
                    </a:moveTo>
                    <a:cubicBezTo>
                      <a:pt x="165" y="131"/>
                      <a:pt x="148" y="136"/>
                      <a:pt x="131" y="136"/>
                    </a:cubicBezTo>
                    <a:cubicBezTo>
                      <a:pt x="128" y="136"/>
                      <a:pt x="126" y="136"/>
                      <a:pt x="124" y="135"/>
                    </a:cubicBezTo>
                    <a:cubicBezTo>
                      <a:pt x="123" y="135"/>
                      <a:pt x="122" y="135"/>
                      <a:pt x="121" y="135"/>
                    </a:cubicBezTo>
                    <a:cubicBezTo>
                      <a:pt x="119" y="135"/>
                      <a:pt x="118" y="135"/>
                      <a:pt x="116" y="134"/>
                    </a:cubicBezTo>
                    <a:cubicBezTo>
                      <a:pt x="115" y="134"/>
                      <a:pt x="114" y="134"/>
                      <a:pt x="113" y="134"/>
                    </a:cubicBezTo>
                    <a:cubicBezTo>
                      <a:pt x="111" y="133"/>
                      <a:pt x="109" y="133"/>
                      <a:pt x="108" y="132"/>
                    </a:cubicBezTo>
                    <a:cubicBezTo>
                      <a:pt x="107" y="132"/>
                      <a:pt x="106" y="132"/>
                      <a:pt x="105" y="131"/>
                    </a:cubicBezTo>
                    <a:cubicBezTo>
                      <a:pt x="103" y="131"/>
                      <a:pt x="102" y="130"/>
                      <a:pt x="100" y="129"/>
                    </a:cubicBezTo>
                    <a:cubicBezTo>
                      <a:pt x="99" y="129"/>
                      <a:pt x="99" y="129"/>
                      <a:pt x="98" y="129"/>
                    </a:cubicBezTo>
                    <a:cubicBezTo>
                      <a:pt x="96" y="128"/>
                      <a:pt x="94" y="127"/>
                      <a:pt x="92" y="126"/>
                    </a:cubicBezTo>
                    <a:cubicBezTo>
                      <a:pt x="92" y="126"/>
                      <a:pt x="92" y="126"/>
                      <a:pt x="92" y="126"/>
                    </a:cubicBezTo>
                    <a:cubicBezTo>
                      <a:pt x="85" y="122"/>
                      <a:pt x="78" y="117"/>
                      <a:pt x="73" y="111"/>
                    </a:cubicBezTo>
                    <a:cubicBezTo>
                      <a:pt x="73" y="111"/>
                      <a:pt x="73" y="111"/>
                      <a:pt x="73" y="111"/>
                    </a:cubicBezTo>
                    <a:cubicBezTo>
                      <a:pt x="71" y="109"/>
                      <a:pt x="69" y="108"/>
                      <a:pt x="68" y="106"/>
                    </a:cubicBezTo>
                    <a:cubicBezTo>
                      <a:pt x="67" y="105"/>
                      <a:pt x="67" y="105"/>
                      <a:pt x="67" y="104"/>
                    </a:cubicBezTo>
                    <a:cubicBezTo>
                      <a:pt x="55" y="90"/>
                      <a:pt x="48" y="72"/>
                      <a:pt x="48" y="53"/>
                    </a:cubicBezTo>
                    <a:cubicBezTo>
                      <a:pt x="70" y="53"/>
                      <a:pt x="70" y="53"/>
                      <a:pt x="70" y="53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22" y="53"/>
                      <a:pt x="22" y="53"/>
                      <a:pt x="22" y="53"/>
                    </a:cubicBezTo>
                    <a:cubicBezTo>
                      <a:pt x="22" y="76"/>
                      <a:pt x="29" y="97"/>
                      <a:pt x="42" y="115"/>
                    </a:cubicBezTo>
                    <a:cubicBezTo>
                      <a:pt x="42" y="115"/>
                      <a:pt x="42" y="115"/>
                      <a:pt x="42" y="115"/>
                    </a:cubicBezTo>
                    <a:cubicBezTo>
                      <a:pt x="43" y="117"/>
                      <a:pt x="45" y="119"/>
                      <a:pt x="46" y="121"/>
                    </a:cubicBezTo>
                    <a:cubicBezTo>
                      <a:pt x="46" y="121"/>
                      <a:pt x="47" y="122"/>
                      <a:pt x="47" y="123"/>
                    </a:cubicBezTo>
                    <a:cubicBezTo>
                      <a:pt x="49" y="125"/>
                      <a:pt x="52" y="127"/>
                      <a:pt x="54" y="129"/>
                    </a:cubicBezTo>
                    <a:cubicBezTo>
                      <a:pt x="54" y="130"/>
                      <a:pt x="54" y="130"/>
                      <a:pt x="54" y="130"/>
                    </a:cubicBezTo>
                    <a:cubicBezTo>
                      <a:pt x="62" y="137"/>
                      <a:pt x="70" y="144"/>
                      <a:pt x="79" y="149"/>
                    </a:cubicBezTo>
                    <a:cubicBezTo>
                      <a:pt x="80" y="149"/>
                      <a:pt x="80" y="149"/>
                      <a:pt x="80" y="149"/>
                    </a:cubicBezTo>
                    <a:cubicBezTo>
                      <a:pt x="82" y="150"/>
                      <a:pt x="85" y="152"/>
                      <a:pt x="88" y="153"/>
                    </a:cubicBezTo>
                    <a:cubicBezTo>
                      <a:pt x="88" y="153"/>
                      <a:pt x="89" y="153"/>
                      <a:pt x="90" y="154"/>
                    </a:cubicBezTo>
                    <a:cubicBezTo>
                      <a:pt x="92" y="155"/>
                      <a:pt x="94" y="156"/>
                      <a:pt x="97" y="156"/>
                    </a:cubicBezTo>
                    <a:cubicBezTo>
                      <a:pt x="98" y="157"/>
                      <a:pt x="99" y="157"/>
                      <a:pt x="100" y="157"/>
                    </a:cubicBezTo>
                    <a:cubicBezTo>
                      <a:pt x="102" y="158"/>
                      <a:pt x="104" y="159"/>
                      <a:pt x="107" y="159"/>
                    </a:cubicBezTo>
                    <a:cubicBezTo>
                      <a:pt x="108" y="159"/>
                      <a:pt x="109" y="160"/>
                      <a:pt x="111" y="160"/>
                    </a:cubicBezTo>
                    <a:cubicBezTo>
                      <a:pt x="112" y="160"/>
                      <a:pt x="112" y="160"/>
                      <a:pt x="113" y="161"/>
                    </a:cubicBezTo>
                    <a:cubicBezTo>
                      <a:pt x="115" y="161"/>
                      <a:pt x="117" y="161"/>
                      <a:pt x="119" y="161"/>
                    </a:cubicBezTo>
                    <a:cubicBezTo>
                      <a:pt x="120" y="161"/>
                      <a:pt x="120" y="162"/>
                      <a:pt x="121" y="162"/>
                    </a:cubicBezTo>
                    <a:cubicBezTo>
                      <a:pt x="125" y="162"/>
                      <a:pt x="128" y="162"/>
                      <a:pt x="132" y="162"/>
                    </a:cubicBezTo>
                    <a:cubicBezTo>
                      <a:pt x="154" y="162"/>
                      <a:pt x="176" y="155"/>
                      <a:pt x="195" y="142"/>
                    </a:cubicBezTo>
                    <a:cubicBezTo>
                      <a:pt x="201" y="138"/>
                      <a:pt x="202" y="130"/>
                      <a:pt x="198" y="124"/>
                    </a:cubicBezTo>
                    <a:cubicBezTo>
                      <a:pt x="194" y="118"/>
                      <a:pt x="185" y="117"/>
                      <a:pt x="179" y="121"/>
                    </a:cubicBez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5" name="Rectangle 144"/>
            <p:cNvSpPr/>
            <p:nvPr/>
          </p:nvSpPr>
          <p:spPr>
            <a:xfrm flipV="1">
              <a:off x="1099894" y="5501400"/>
              <a:ext cx="7198008" cy="108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990600" y="6114776"/>
            <a:ext cx="8091004" cy="667024"/>
            <a:chOff x="990600" y="6114776"/>
            <a:chExt cx="8091004" cy="667024"/>
          </a:xfrm>
        </p:grpSpPr>
        <p:grpSp>
          <p:nvGrpSpPr>
            <p:cNvPr id="176" name="Group 175"/>
            <p:cNvGrpSpPr/>
            <p:nvPr/>
          </p:nvGrpSpPr>
          <p:grpSpPr bwMode="gray">
            <a:xfrm>
              <a:off x="8625838" y="6419652"/>
              <a:ext cx="289562" cy="342554"/>
              <a:chOff x="5932488" y="4292600"/>
              <a:chExt cx="242888" cy="287338"/>
            </a:xfrm>
            <a:solidFill>
              <a:srgbClr val="FF9900"/>
            </a:solidFill>
          </p:grpSpPr>
          <p:sp>
            <p:nvSpPr>
              <p:cNvPr id="177" name="Freeform 229"/>
              <p:cNvSpPr>
                <a:spLocks/>
              </p:cNvSpPr>
              <p:nvPr/>
            </p:nvSpPr>
            <p:spPr bwMode="gray">
              <a:xfrm>
                <a:off x="6030913" y="4392613"/>
                <a:ext cx="44450" cy="100013"/>
              </a:xfrm>
              <a:custGeom>
                <a:avLst/>
                <a:gdLst>
                  <a:gd name="T0" fmla="*/ 27 w 35"/>
                  <a:gd name="T1" fmla="*/ 38 h 79"/>
                  <a:gd name="T2" fmla="*/ 27 w 35"/>
                  <a:gd name="T3" fmla="*/ 0 h 79"/>
                  <a:gd name="T4" fmla="*/ 9 w 35"/>
                  <a:gd name="T5" fmla="*/ 0 h 79"/>
                  <a:gd name="T6" fmla="*/ 9 w 35"/>
                  <a:gd name="T7" fmla="*/ 38 h 79"/>
                  <a:gd name="T8" fmla="*/ 0 w 35"/>
                  <a:gd name="T9" fmla="*/ 53 h 79"/>
                  <a:gd name="T10" fmla="*/ 9 w 35"/>
                  <a:gd name="T11" fmla="*/ 68 h 79"/>
                  <a:gd name="T12" fmla="*/ 9 w 35"/>
                  <a:gd name="T13" fmla="*/ 79 h 79"/>
                  <a:gd name="T14" fmla="*/ 27 w 35"/>
                  <a:gd name="T15" fmla="*/ 79 h 79"/>
                  <a:gd name="T16" fmla="*/ 27 w 35"/>
                  <a:gd name="T17" fmla="*/ 68 h 79"/>
                  <a:gd name="T18" fmla="*/ 35 w 35"/>
                  <a:gd name="T19" fmla="*/ 53 h 79"/>
                  <a:gd name="T20" fmla="*/ 27 w 35"/>
                  <a:gd name="T21" fmla="*/ 3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" h="79">
                    <a:moveTo>
                      <a:pt x="27" y="38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4" y="41"/>
                      <a:pt x="0" y="46"/>
                      <a:pt x="0" y="53"/>
                    </a:cubicBezTo>
                    <a:cubicBezTo>
                      <a:pt x="0" y="59"/>
                      <a:pt x="4" y="65"/>
                      <a:pt x="9" y="68"/>
                    </a:cubicBezTo>
                    <a:cubicBezTo>
                      <a:pt x="9" y="79"/>
                      <a:pt x="9" y="79"/>
                      <a:pt x="9" y="79"/>
                    </a:cubicBezTo>
                    <a:cubicBezTo>
                      <a:pt x="27" y="79"/>
                      <a:pt x="27" y="79"/>
                      <a:pt x="27" y="79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32" y="65"/>
                      <a:pt x="35" y="59"/>
                      <a:pt x="35" y="53"/>
                    </a:cubicBezTo>
                    <a:cubicBezTo>
                      <a:pt x="35" y="46"/>
                      <a:pt x="32" y="41"/>
                      <a:pt x="27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F5494"/>
                  </a:solidFill>
                </a:endParaRPr>
              </a:p>
            </p:txBody>
          </p:sp>
          <p:sp>
            <p:nvSpPr>
              <p:cNvPr id="178" name="Freeform 230"/>
              <p:cNvSpPr>
                <a:spLocks noEditPoints="1"/>
              </p:cNvSpPr>
              <p:nvPr/>
            </p:nvSpPr>
            <p:spPr bwMode="gray">
              <a:xfrm>
                <a:off x="5932488" y="4292600"/>
                <a:ext cx="242888" cy="287338"/>
              </a:xfrm>
              <a:custGeom>
                <a:avLst/>
                <a:gdLst>
                  <a:gd name="T0" fmla="*/ 174 w 193"/>
                  <a:gd name="T1" fmla="*/ 73 h 228"/>
                  <a:gd name="T2" fmla="*/ 193 w 193"/>
                  <a:gd name="T3" fmla="*/ 54 h 228"/>
                  <a:gd name="T4" fmla="*/ 174 w 193"/>
                  <a:gd name="T5" fmla="*/ 36 h 228"/>
                  <a:gd name="T6" fmla="*/ 155 w 193"/>
                  <a:gd name="T7" fmla="*/ 55 h 228"/>
                  <a:gd name="T8" fmla="*/ 106 w 193"/>
                  <a:gd name="T9" fmla="*/ 36 h 228"/>
                  <a:gd name="T10" fmla="*/ 106 w 193"/>
                  <a:gd name="T11" fmla="*/ 18 h 228"/>
                  <a:gd name="T12" fmla="*/ 114 w 193"/>
                  <a:gd name="T13" fmla="*/ 18 h 228"/>
                  <a:gd name="T14" fmla="*/ 114 w 193"/>
                  <a:gd name="T15" fmla="*/ 0 h 228"/>
                  <a:gd name="T16" fmla="*/ 79 w 193"/>
                  <a:gd name="T17" fmla="*/ 0 h 228"/>
                  <a:gd name="T18" fmla="*/ 79 w 193"/>
                  <a:gd name="T19" fmla="*/ 18 h 228"/>
                  <a:gd name="T20" fmla="*/ 88 w 193"/>
                  <a:gd name="T21" fmla="*/ 18 h 228"/>
                  <a:gd name="T22" fmla="*/ 88 w 193"/>
                  <a:gd name="T23" fmla="*/ 36 h 228"/>
                  <a:gd name="T24" fmla="*/ 0 w 193"/>
                  <a:gd name="T25" fmla="*/ 132 h 228"/>
                  <a:gd name="T26" fmla="*/ 97 w 193"/>
                  <a:gd name="T27" fmla="*/ 228 h 228"/>
                  <a:gd name="T28" fmla="*/ 193 w 193"/>
                  <a:gd name="T29" fmla="*/ 132 h 228"/>
                  <a:gd name="T30" fmla="*/ 174 w 193"/>
                  <a:gd name="T31" fmla="*/ 73 h 228"/>
                  <a:gd name="T32" fmla="*/ 97 w 193"/>
                  <a:gd name="T33" fmla="*/ 211 h 228"/>
                  <a:gd name="T34" fmla="*/ 18 w 193"/>
                  <a:gd name="T35" fmla="*/ 132 h 228"/>
                  <a:gd name="T36" fmla="*/ 97 w 193"/>
                  <a:gd name="T37" fmla="*/ 53 h 228"/>
                  <a:gd name="T38" fmla="*/ 176 w 193"/>
                  <a:gd name="T39" fmla="*/ 132 h 228"/>
                  <a:gd name="T40" fmla="*/ 97 w 193"/>
                  <a:gd name="T41" fmla="*/ 211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3" h="228">
                    <a:moveTo>
                      <a:pt x="174" y="73"/>
                    </a:moveTo>
                    <a:cubicBezTo>
                      <a:pt x="193" y="54"/>
                      <a:pt x="193" y="54"/>
                      <a:pt x="193" y="54"/>
                    </a:cubicBezTo>
                    <a:cubicBezTo>
                      <a:pt x="174" y="36"/>
                      <a:pt x="174" y="36"/>
                      <a:pt x="174" y="36"/>
                    </a:cubicBezTo>
                    <a:cubicBezTo>
                      <a:pt x="155" y="55"/>
                      <a:pt x="155" y="55"/>
                      <a:pt x="155" y="55"/>
                    </a:cubicBezTo>
                    <a:cubicBezTo>
                      <a:pt x="141" y="44"/>
                      <a:pt x="124" y="37"/>
                      <a:pt x="106" y="36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14" y="18"/>
                      <a:pt x="114" y="18"/>
                      <a:pt x="114" y="18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79" y="18"/>
                      <a:pt x="79" y="18"/>
                      <a:pt x="79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36"/>
                      <a:pt x="88" y="36"/>
                      <a:pt x="88" y="36"/>
                    </a:cubicBezTo>
                    <a:cubicBezTo>
                      <a:pt x="39" y="40"/>
                      <a:pt x="0" y="81"/>
                      <a:pt x="0" y="132"/>
                    </a:cubicBezTo>
                    <a:cubicBezTo>
                      <a:pt x="0" y="185"/>
                      <a:pt x="43" y="228"/>
                      <a:pt x="97" y="228"/>
                    </a:cubicBezTo>
                    <a:cubicBezTo>
                      <a:pt x="150" y="228"/>
                      <a:pt x="193" y="185"/>
                      <a:pt x="193" y="132"/>
                    </a:cubicBezTo>
                    <a:cubicBezTo>
                      <a:pt x="193" y="110"/>
                      <a:pt x="186" y="90"/>
                      <a:pt x="174" y="73"/>
                    </a:cubicBezTo>
                    <a:close/>
                    <a:moveTo>
                      <a:pt x="97" y="211"/>
                    </a:moveTo>
                    <a:cubicBezTo>
                      <a:pt x="53" y="211"/>
                      <a:pt x="18" y="175"/>
                      <a:pt x="18" y="132"/>
                    </a:cubicBezTo>
                    <a:cubicBezTo>
                      <a:pt x="18" y="88"/>
                      <a:pt x="53" y="53"/>
                      <a:pt x="97" y="53"/>
                    </a:cubicBezTo>
                    <a:cubicBezTo>
                      <a:pt x="140" y="53"/>
                      <a:pt x="176" y="88"/>
                      <a:pt x="176" y="132"/>
                    </a:cubicBezTo>
                    <a:cubicBezTo>
                      <a:pt x="176" y="175"/>
                      <a:pt x="140" y="211"/>
                      <a:pt x="97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F5494"/>
                  </a:solidFill>
                </a:endParaRPr>
              </a:p>
            </p:txBody>
          </p:sp>
        </p:grpSp>
        <p:sp>
          <p:nvSpPr>
            <p:cNvPr id="179" name="Freeform 27"/>
            <p:cNvSpPr>
              <a:spLocks noEditPoints="1"/>
            </p:cNvSpPr>
            <p:nvPr/>
          </p:nvSpPr>
          <p:spPr bwMode="gray">
            <a:xfrm>
              <a:off x="8305800" y="6397139"/>
              <a:ext cx="345502" cy="365067"/>
            </a:xfrm>
            <a:custGeom>
              <a:avLst/>
              <a:gdLst/>
              <a:ahLst/>
              <a:cxnLst>
                <a:cxn ang="0">
                  <a:pos x="171" y="26"/>
                </a:cxn>
                <a:cxn ang="0">
                  <a:pos x="163" y="19"/>
                </a:cxn>
                <a:cxn ang="0">
                  <a:pos x="61" y="8"/>
                </a:cxn>
                <a:cxn ang="0">
                  <a:pos x="151" y="173"/>
                </a:cxn>
                <a:cxn ang="0">
                  <a:pos x="163" y="124"/>
                </a:cxn>
                <a:cxn ang="0">
                  <a:pos x="171" y="161"/>
                </a:cxn>
                <a:cxn ang="0">
                  <a:pos x="38" y="181"/>
                </a:cxn>
                <a:cxn ang="0">
                  <a:pos x="19" y="154"/>
                </a:cxn>
                <a:cxn ang="0">
                  <a:pos x="0" y="145"/>
                </a:cxn>
                <a:cxn ang="0">
                  <a:pos x="28" y="137"/>
                </a:cxn>
                <a:cxn ang="0">
                  <a:pos x="19" y="117"/>
                </a:cxn>
                <a:cxn ang="0">
                  <a:pos x="0" y="109"/>
                </a:cxn>
                <a:cxn ang="0">
                  <a:pos x="28" y="100"/>
                </a:cxn>
                <a:cxn ang="0">
                  <a:pos x="19" y="80"/>
                </a:cxn>
                <a:cxn ang="0">
                  <a:pos x="0" y="72"/>
                </a:cxn>
                <a:cxn ang="0">
                  <a:pos x="28" y="63"/>
                </a:cxn>
                <a:cxn ang="0">
                  <a:pos x="19" y="43"/>
                </a:cxn>
                <a:cxn ang="0">
                  <a:pos x="0" y="35"/>
                </a:cxn>
                <a:cxn ang="0">
                  <a:pos x="28" y="26"/>
                </a:cxn>
                <a:cxn ang="0">
                  <a:pos x="19" y="19"/>
                </a:cxn>
                <a:cxn ang="0">
                  <a:pos x="151" y="0"/>
                </a:cxn>
                <a:cxn ang="0">
                  <a:pos x="132" y="139"/>
                </a:cxn>
                <a:cxn ang="0">
                  <a:pos x="88" y="142"/>
                </a:cxn>
                <a:cxn ang="0">
                  <a:pos x="104" y="140"/>
                </a:cxn>
                <a:cxn ang="0">
                  <a:pos x="132" y="139"/>
                </a:cxn>
                <a:cxn ang="0">
                  <a:pos x="137" y="136"/>
                </a:cxn>
                <a:cxn ang="0">
                  <a:pos x="166" y="94"/>
                </a:cxn>
                <a:cxn ang="0">
                  <a:pos x="133" y="118"/>
                </a:cxn>
                <a:cxn ang="0">
                  <a:pos x="148" y="76"/>
                </a:cxn>
                <a:cxn ang="0">
                  <a:pos x="115" y="100"/>
                </a:cxn>
                <a:cxn ang="0">
                  <a:pos x="143" y="59"/>
                </a:cxn>
                <a:cxn ang="0">
                  <a:pos x="148" y="54"/>
                </a:cxn>
                <a:cxn ang="0">
                  <a:pos x="188" y="85"/>
                </a:cxn>
                <a:cxn ang="0">
                  <a:pos x="148" y="54"/>
                </a:cxn>
                <a:cxn ang="0">
                  <a:pos x="197" y="58"/>
                </a:cxn>
                <a:cxn ang="0">
                  <a:pos x="193" y="80"/>
                </a:cxn>
                <a:cxn ang="0">
                  <a:pos x="161" y="40"/>
                </a:cxn>
              </a:cxnLst>
              <a:rect l="0" t="0" r="r" b="b"/>
              <a:pathLst>
                <a:path w="202" h="181">
                  <a:moveTo>
                    <a:pt x="171" y="19"/>
                  </a:moveTo>
                  <a:cubicBezTo>
                    <a:pt x="171" y="26"/>
                    <a:pt x="171" y="26"/>
                    <a:pt x="171" y="26"/>
                  </a:cubicBezTo>
                  <a:cubicBezTo>
                    <a:pt x="168" y="26"/>
                    <a:pt x="166" y="27"/>
                    <a:pt x="163" y="28"/>
                  </a:cubicBezTo>
                  <a:cubicBezTo>
                    <a:pt x="163" y="19"/>
                    <a:pt x="163" y="19"/>
                    <a:pt x="163" y="19"/>
                  </a:cubicBezTo>
                  <a:cubicBezTo>
                    <a:pt x="163" y="13"/>
                    <a:pt x="158" y="8"/>
                    <a:pt x="151" y="8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1" y="173"/>
                    <a:pt x="61" y="173"/>
                    <a:pt x="61" y="173"/>
                  </a:cubicBezTo>
                  <a:cubicBezTo>
                    <a:pt x="151" y="173"/>
                    <a:pt x="151" y="173"/>
                    <a:pt x="151" y="173"/>
                  </a:cubicBezTo>
                  <a:cubicBezTo>
                    <a:pt x="158" y="173"/>
                    <a:pt x="163" y="167"/>
                    <a:pt x="163" y="161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71" y="116"/>
                    <a:pt x="171" y="116"/>
                    <a:pt x="171" y="116"/>
                  </a:cubicBezTo>
                  <a:cubicBezTo>
                    <a:pt x="171" y="161"/>
                    <a:pt x="171" y="161"/>
                    <a:pt x="171" y="161"/>
                  </a:cubicBezTo>
                  <a:cubicBezTo>
                    <a:pt x="171" y="172"/>
                    <a:pt x="162" y="181"/>
                    <a:pt x="151" y="181"/>
                  </a:cubicBezTo>
                  <a:cubicBezTo>
                    <a:pt x="38" y="181"/>
                    <a:pt x="38" y="181"/>
                    <a:pt x="38" y="181"/>
                  </a:cubicBezTo>
                  <a:cubicBezTo>
                    <a:pt x="27" y="181"/>
                    <a:pt x="19" y="172"/>
                    <a:pt x="19" y="161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9" y="154"/>
                    <a:pt x="9" y="154"/>
                    <a:pt x="9" y="154"/>
                  </a:cubicBezTo>
                  <a:cubicBezTo>
                    <a:pt x="3" y="154"/>
                    <a:pt x="0" y="150"/>
                    <a:pt x="0" y="145"/>
                  </a:cubicBezTo>
                  <a:cubicBezTo>
                    <a:pt x="37" y="145"/>
                    <a:pt x="37" y="145"/>
                    <a:pt x="37" y="145"/>
                  </a:cubicBezTo>
                  <a:cubicBezTo>
                    <a:pt x="37" y="141"/>
                    <a:pt x="34" y="137"/>
                    <a:pt x="28" y="137"/>
                  </a:cubicBezTo>
                  <a:cubicBezTo>
                    <a:pt x="19" y="137"/>
                    <a:pt x="19" y="137"/>
                    <a:pt x="19" y="137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9" y="117"/>
                    <a:pt x="9" y="117"/>
                    <a:pt x="9" y="117"/>
                  </a:cubicBezTo>
                  <a:cubicBezTo>
                    <a:pt x="3" y="117"/>
                    <a:pt x="0" y="113"/>
                    <a:pt x="0" y="109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4"/>
                    <a:pt x="34" y="100"/>
                    <a:pt x="28" y="100"/>
                  </a:cubicBezTo>
                  <a:cubicBezTo>
                    <a:pt x="19" y="100"/>
                    <a:pt x="19" y="100"/>
                    <a:pt x="19" y="10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3" y="80"/>
                    <a:pt x="0" y="76"/>
                    <a:pt x="0" y="72"/>
                  </a:cubicBezTo>
                  <a:cubicBezTo>
                    <a:pt x="37" y="72"/>
                    <a:pt x="37" y="72"/>
                    <a:pt x="37" y="72"/>
                  </a:cubicBezTo>
                  <a:cubicBezTo>
                    <a:pt x="37" y="68"/>
                    <a:pt x="34" y="63"/>
                    <a:pt x="28" y="6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3" y="43"/>
                    <a:pt x="0" y="39"/>
                    <a:pt x="0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1"/>
                    <a:pt x="34" y="26"/>
                    <a:pt x="28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9"/>
                    <a:pt x="27" y="0"/>
                    <a:pt x="38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62" y="0"/>
                    <a:pt x="171" y="8"/>
                    <a:pt x="171" y="19"/>
                  </a:cubicBezTo>
                  <a:close/>
                  <a:moveTo>
                    <a:pt x="132" y="139"/>
                  </a:moveTo>
                  <a:cubicBezTo>
                    <a:pt x="95" y="149"/>
                    <a:pt x="95" y="149"/>
                    <a:pt x="95" y="149"/>
                  </a:cubicBezTo>
                  <a:cubicBezTo>
                    <a:pt x="91" y="151"/>
                    <a:pt x="87" y="146"/>
                    <a:pt x="88" y="142"/>
                  </a:cubicBezTo>
                  <a:cubicBezTo>
                    <a:pt x="92" y="128"/>
                    <a:pt x="92" y="128"/>
                    <a:pt x="92" y="128"/>
                  </a:cubicBezTo>
                  <a:cubicBezTo>
                    <a:pt x="104" y="140"/>
                    <a:pt x="104" y="140"/>
                    <a:pt x="104" y="140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9" y="135"/>
                    <a:pt x="130" y="137"/>
                    <a:pt x="132" y="139"/>
                  </a:cubicBezTo>
                  <a:close/>
                  <a:moveTo>
                    <a:pt x="179" y="94"/>
                  </a:moveTo>
                  <a:cubicBezTo>
                    <a:pt x="137" y="136"/>
                    <a:pt x="137" y="136"/>
                    <a:pt x="137" y="136"/>
                  </a:cubicBezTo>
                  <a:cubicBezTo>
                    <a:pt x="133" y="132"/>
                    <a:pt x="133" y="126"/>
                    <a:pt x="137" y="122"/>
                  </a:cubicBezTo>
                  <a:cubicBezTo>
                    <a:pt x="166" y="94"/>
                    <a:pt x="166" y="94"/>
                    <a:pt x="166" y="94"/>
                  </a:cubicBezTo>
                  <a:cubicBezTo>
                    <a:pt x="161" y="89"/>
                    <a:pt x="161" y="89"/>
                    <a:pt x="161" y="89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23" y="127"/>
                    <a:pt x="110" y="114"/>
                    <a:pt x="120" y="104"/>
                  </a:cubicBezTo>
                  <a:cubicBezTo>
                    <a:pt x="148" y="76"/>
                    <a:pt x="148" y="76"/>
                    <a:pt x="148" y="76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15" y="100"/>
                    <a:pt x="115" y="100"/>
                    <a:pt x="115" y="100"/>
                  </a:cubicBezTo>
                  <a:cubicBezTo>
                    <a:pt x="111" y="104"/>
                    <a:pt x="105" y="104"/>
                    <a:pt x="101" y="101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179" y="94"/>
                    <a:pt x="179" y="94"/>
                    <a:pt x="179" y="94"/>
                  </a:cubicBezTo>
                  <a:close/>
                  <a:moveTo>
                    <a:pt x="148" y="54"/>
                  </a:moveTo>
                  <a:cubicBezTo>
                    <a:pt x="152" y="50"/>
                    <a:pt x="152" y="50"/>
                    <a:pt x="152" y="50"/>
                  </a:cubicBezTo>
                  <a:cubicBezTo>
                    <a:pt x="164" y="61"/>
                    <a:pt x="176" y="73"/>
                    <a:pt x="188" y="85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72" y="77"/>
                    <a:pt x="160" y="66"/>
                    <a:pt x="148" y="54"/>
                  </a:cubicBezTo>
                  <a:close/>
                  <a:moveTo>
                    <a:pt x="180" y="40"/>
                  </a:moveTo>
                  <a:cubicBezTo>
                    <a:pt x="197" y="58"/>
                    <a:pt x="197" y="58"/>
                    <a:pt x="197" y="58"/>
                  </a:cubicBezTo>
                  <a:cubicBezTo>
                    <a:pt x="202" y="63"/>
                    <a:pt x="202" y="71"/>
                    <a:pt x="197" y="76"/>
                  </a:cubicBezTo>
                  <a:cubicBezTo>
                    <a:pt x="193" y="80"/>
                    <a:pt x="193" y="80"/>
                    <a:pt x="193" y="80"/>
                  </a:cubicBezTo>
                  <a:cubicBezTo>
                    <a:pt x="157" y="45"/>
                    <a:pt x="157" y="45"/>
                    <a:pt x="157" y="45"/>
                  </a:cubicBezTo>
                  <a:cubicBezTo>
                    <a:pt x="161" y="40"/>
                    <a:pt x="161" y="40"/>
                    <a:pt x="161" y="40"/>
                  </a:cubicBezTo>
                  <a:cubicBezTo>
                    <a:pt x="166" y="35"/>
                    <a:pt x="175" y="35"/>
                    <a:pt x="180" y="40"/>
                  </a:cubicBezTo>
                  <a:close/>
                </a:path>
              </a:pathLst>
            </a:custGeom>
            <a:solidFill>
              <a:srgbClr val="FF99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F5494"/>
                </a:solidFill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1219200" y="6221450"/>
              <a:ext cx="7042187" cy="56035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100" b="1" dirty="0" smtClean="0">
                  <a:solidFill>
                    <a:srgbClr val="000000"/>
                  </a:solidFill>
                </a:rPr>
                <a:t>Individual and Team Productivity: 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GB" sz="1100" b="1" i="1" dirty="0" smtClean="0">
                  <a:solidFill>
                    <a:srgbClr val="000000"/>
                  </a:solidFill>
                </a:rPr>
                <a:t>Internal and External Collaboration and coordination; Time and project management</a:t>
              </a:r>
              <a:endParaRPr lang="en-GB" sz="1100" b="1" i="1" dirty="0">
                <a:solidFill>
                  <a:srgbClr val="000000"/>
                </a:solidFill>
              </a:endParaRPr>
            </a:p>
          </p:txBody>
        </p:sp>
        <p:sp>
          <p:nvSpPr>
            <p:cNvPr id="175" name="Freeform 30"/>
            <p:cNvSpPr>
              <a:spLocks noEditPoints="1"/>
            </p:cNvSpPr>
            <p:nvPr/>
          </p:nvSpPr>
          <p:spPr bwMode="gray">
            <a:xfrm>
              <a:off x="8453425" y="6169085"/>
              <a:ext cx="309575" cy="303596"/>
            </a:xfrm>
            <a:custGeom>
              <a:avLst/>
              <a:gdLst/>
              <a:ahLst/>
              <a:cxnLst>
                <a:cxn ang="0">
                  <a:pos x="156" y="191"/>
                </a:cxn>
                <a:cxn ang="0">
                  <a:pos x="21" y="191"/>
                </a:cxn>
                <a:cxn ang="0">
                  <a:pos x="0" y="169"/>
                </a:cxn>
                <a:cxn ang="0">
                  <a:pos x="0" y="48"/>
                </a:cxn>
                <a:cxn ang="0">
                  <a:pos x="21" y="26"/>
                </a:cxn>
                <a:cxn ang="0">
                  <a:pos x="34" y="26"/>
                </a:cxn>
                <a:cxn ang="0">
                  <a:pos x="34" y="40"/>
                </a:cxn>
                <a:cxn ang="0">
                  <a:pos x="46" y="53"/>
                </a:cxn>
                <a:cxn ang="0">
                  <a:pos x="46" y="0"/>
                </a:cxn>
                <a:cxn ang="0">
                  <a:pos x="58" y="13"/>
                </a:cxn>
                <a:cxn ang="0">
                  <a:pos x="58" y="26"/>
                </a:cxn>
                <a:cxn ang="0">
                  <a:pos x="119" y="26"/>
                </a:cxn>
                <a:cxn ang="0">
                  <a:pos x="119" y="40"/>
                </a:cxn>
                <a:cxn ang="0">
                  <a:pos x="131" y="53"/>
                </a:cxn>
                <a:cxn ang="0">
                  <a:pos x="131" y="0"/>
                </a:cxn>
                <a:cxn ang="0">
                  <a:pos x="142" y="13"/>
                </a:cxn>
                <a:cxn ang="0">
                  <a:pos x="142" y="26"/>
                </a:cxn>
                <a:cxn ang="0">
                  <a:pos x="156" y="26"/>
                </a:cxn>
                <a:cxn ang="0">
                  <a:pos x="177" y="48"/>
                </a:cxn>
                <a:cxn ang="0">
                  <a:pos x="177" y="169"/>
                </a:cxn>
                <a:cxn ang="0">
                  <a:pos x="156" y="191"/>
                </a:cxn>
                <a:cxn ang="0">
                  <a:pos x="156" y="182"/>
                </a:cxn>
                <a:cxn ang="0">
                  <a:pos x="168" y="169"/>
                </a:cxn>
                <a:cxn ang="0">
                  <a:pos x="168" y="80"/>
                </a:cxn>
                <a:cxn ang="0">
                  <a:pos x="9" y="80"/>
                </a:cxn>
                <a:cxn ang="0">
                  <a:pos x="9" y="169"/>
                </a:cxn>
                <a:cxn ang="0">
                  <a:pos x="21" y="182"/>
                </a:cxn>
                <a:cxn ang="0">
                  <a:pos x="156" y="182"/>
                </a:cxn>
                <a:cxn ang="0">
                  <a:pos x="83" y="164"/>
                </a:cxn>
                <a:cxn ang="0">
                  <a:pos x="36" y="164"/>
                </a:cxn>
                <a:cxn ang="0">
                  <a:pos x="36" y="152"/>
                </a:cxn>
                <a:cxn ang="0">
                  <a:pos x="51" y="152"/>
                </a:cxn>
                <a:cxn ang="0">
                  <a:pos x="51" y="117"/>
                </a:cxn>
                <a:cxn ang="0">
                  <a:pos x="36" y="117"/>
                </a:cxn>
                <a:cxn ang="0">
                  <a:pos x="36" y="106"/>
                </a:cxn>
                <a:cxn ang="0">
                  <a:pos x="53" y="96"/>
                </a:cxn>
                <a:cxn ang="0">
                  <a:pos x="68" y="96"/>
                </a:cxn>
                <a:cxn ang="0">
                  <a:pos x="68" y="152"/>
                </a:cxn>
                <a:cxn ang="0">
                  <a:pos x="83" y="152"/>
                </a:cxn>
                <a:cxn ang="0">
                  <a:pos x="83" y="164"/>
                </a:cxn>
                <a:cxn ang="0">
                  <a:pos x="127" y="129"/>
                </a:cxn>
                <a:cxn ang="0">
                  <a:pos x="117" y="107"/>
                </a:cxn>
                <a:cxn ang="0">
                  <a:pos x="106" y="129"/>
                </a:cxn>
                <a:cxn ang="0">
                  <a:pos x="117" y="152"/>
                </a:cxn>
                <a:cxn ang="0">
                  <a:pos x="127" y="129"/>
                </a:cxn>
                <a:cxn ang="0">
                  <a:pos x="144" y="129"/>
                </a:cxn>
                <a:cxn ang="0">
                  <a:pos x="117" y="166"/>
                </a:cxn>
                <a:cxn ang="0">
                  <a:pos x="90" y="129"/>
                </a:cxn>
                <a:cxn ang="0">
                  <a:pos x="117" y="93"/>
                </a:cxn>
                <a:cxn ang="0">
                  <a:pos x="144" y="129"/>
                </a:cxn>
              </a:cxnLst>
              <a:rect l="0" t="0" r="r" b="b"/>
              <a:pathLst>
                <a:path w="177" h="191">
                  <a:moveTo>
                    <a:pt x="156" y="191"/>
                  </a:moveTo>
                  <a:cubicBezTo>
                    <a:pt x="21" y="191"/>
                    <a:pt x="21" y="191"/>
                    <a:pt x="21" y="191"/>
                  </a:cubicBezTo>
                  <a:cubicBezTo>
                    <a:pt x="9" y="191"/>
                    <a:pt x="0" y="181"/>
                    <a:pt x="0" y="16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6"/>
                    <a:pt x="9" y="26"/>
                    <a:pt x="21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4" y="49"/>
                    <a:pt x="40" y="53"/>
                    <a:pt x="46" y="53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2" y="0"/>
                    <a:pt x="58" y="5"/>
                    <a:pt x="58" y="13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9"/>
                    <a:pt x="125" y="53"/>
                    <a:pt x="131" y="53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7" y="0"/>
                    <a:pt x="142" y="5"/>
                    <a:pt x="142" y="13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56" y="26"/>
                    <a:pt x="156" y="26"/>
                    <a:pt x="156" y="26"/>
                  </a:cubicBezTo>
                  <a:cubicBezTo>
                    <a:pt x="167" y="26"/>
                    <a:pt x="177" y="36"/>
                    <a:pt x="177" y="48"/>
                  </a:cubicBezTo>
                  <a:cubicBezTo>
                    <a:pt x="177" y="169"/>
                    <a:pt x="177" y="169"/>
                    <a:pt x="177" y="169"/>
                  </a:cubicBezTo>
                  <a:cubicBezTo>
                    <a:pt x="177" y="181"/>
                    <a:pt x="168" y="191"/>
                    <a:pt x="156" y="191"/>
                  </a:cubicBezTo>
                  <a:close/>
                  <a:moveTo>
                    <a:pt x="156" y="182"/>
                  </a:moveTo>
                  <a:cubicBezTo>
                    <a:pt x="163" y="182"/>
                    <a:pt x="168" y="176"/>
                    <a:pt x="168" y="169"/>
                  </a:cubicBezTo>
                  <a:cubicBezTo>
                    <a:pt x="168" y="80"/>
                    <a:pt x="168" y="80"/>
                    <a:pt x="168" y="80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9" y="169"/>
                    <a:pt x="9" y="169"/>
                    <a:pt x="9" y="169"/>
                  </a:cubicBezTo>
                  <a:cubicBezTo>
                    <a:pt x="9" y="176"/>
                    <a:pt x="14" y="182"/>
                    <a:pt x="21" y="182"/>
                  </a:cubicBezTo>
                  <a:cubicBezTo>
                    <a:pt x="156" y="182"/>
                    <a:pt x="156" y="182"/>
                    <a:pt x="156" y="182"/>
                  </a:cubicBezTo>
                  <a:close/>
                  <a:moveTo>
                    <a:pt x="83" y="164"/>
                  </a:moveTo>
                  <a:cubicBezTo>
                    <a:pt x="36" y="164"/>
                    <a:pt x="36" y="164"/>
                    <a:pt x="36" y="164"/>
                  </a:cubicBezTo>
                  <a:cubicBezTo>
                    <a:pt x="32" y="164"/>
                    <a:pt x="32" y="152"/>
                    <a:pt x="36" y="152"/>
                  </a:cubicBezTo>
                  <a:cubicBezTo>
                    <a:pt x="51" y="152"/>
                    <a:pt x="51" y="152"/>
                    <a:pt x="51" y="152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3" y="117"/>
                    <a:pt x="34" y="106"/>
                    <a:pt x="36" y="106"/>
                  </a:cubicBezTo>
                  <a:cubicBezTo>
                    <a:pt x="43" y="106"/>
                    <a:pt x="52" y="105"/>
                    <a:pt x="53" y="96"/>
                  </a:cubicBezTo>
                  <a:cubicBezTo>
                    <a:pt x="53" y="92"/>
                    <a:pt x="68" y="92"/>
                    <a:pt x="68" y="96"/>
                  </a:cubicBezTo>
                  <a:cubicBezTo>
                    <a:pt x="68" y="152"/>
                    <a:pt x="68" y="152"/>
                    <a:pt x="68" y="152"/>
                  </a:cubicBezTo>
                  <a:cubicBezTo>
                    <a:pt x="83" y="152"/>
                    <a:pt x="83" y="152"/>
                    <a:pt x="83" y="152"/>
                  </a:cubicBezTo>
                  <a:cubicBezTo>
                    <a:pt x="87" y="152"/>
                    <a:pt x="87" y="164"/>
                    <a:pt x="83" y="164"/>
                  </a:cubicBezTo>
                  <a:close/>
                  <a:moveTo>
                    <a:pt x="127" y="129"/>
                  </a:moveTo>
                  <a:cubicBezTo>
                    <a:pt x="127" y="118"/>
                    <a:pt x="126" y="107"/>
                    <a:pt x="117" y="107"/>
                  </a:cubicBezTo>
                  <a:cubicBezTo>
                    <a:pt x="108" y="107"/>
                    <a:pt x="106" y="118"/>
                    <a:pt x="106" y="129"/>
                  </a:cubicBezTo>
                  <a:cubicBezTo>
                    <a:pt x="106" y="140"/>
                    <a:pt x="108" y="152"/>
                    <a:pt x="117" y="152"/>
                  </a:cubicBezTo>
                  <a:cubicBezTo>
                    <a:pt x="126" y="152"/>
                    <a:pt x="127" y="140"/>
                    <a:pt x="127" y="129"/>
                  </a:cubicBezTo>
                  <a:close/>
                  <a:moveTo>
                    <a:pt x="144" y="129"/>
                  </a:moveTo>
                  <a:cubicBezTo>
                    <a:pt x="144" y="148"/>
                    <a:pt x="139" y="166"/>
                    <a:pt x="117" y="166"/>
                  </a:cubicBezTo>
                  <a:cubicBezTo>
                    <a:pt x="95" y="166"/>
                    <a:pt x="90" y="148"/>
                    <a:pt x="90" y="129"/>
                  </a:cubicBezTo>
                  <a:cubicBezTo>
                    <a:pt x="90" y="111"/>
                    <a:pt x="95" y="93"/>
                    <a:pt x="117" y="93"/>
                  </a:cubicBezTo>
                  <a:cubicBezTo>
                    <a:pt x="138" y="93"/>
                    <a:pt x="144" y="111"/>
                    <a:pt x="144" y="129"/>
                  </a:cubicBezTo>
                  <a:close/>
                </a:path>
              </a:pathLst>
            </a:custGeom>
            <a:solidFill>
              <a:srgbClr val="FF99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F5494"/>
                </a:solidFill>
              </a:endParaRPr>
            </a:p>
          </p:txBody>
        </p:sp>
        <p:sp>
          <p:nvSpPr>
            <p:cNvPr id="123" name="Rounded Rectangle 122"/>
            <p:cNvSpPr/>
            <p:nvPr/>
          </p:nvSpPr>
          <p:spPr>
            <a:xfrm>
              <a:off x="990600" y="6114776"/>
              <a:ext cx="8091004" cy="524956"/>
            </a:xfrm>
            <a:prstGeom prst="roundRect">
              <a:avLst/>
            </a:prstGeom>
            <a:noFill/>
            <a:ln w="19050">
              <a:solidFill>
                <a:srgbClr val="FF9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477" dirty="0">
                <a:solidFill>
                  <a:srgbClr val="000000"/>
                </a:solidFill>
              </a:endParaRPr>
            </a:p>
          </p:txBody>
        </p:sp>
        <p:sp>
          <p:nvSpPr>
            <p:cNvPr id="146" name="Rectangle 145"/>
            <p:cNvSpPr/>
            <p:nvPr/>
          </p:nvSpPr>
          <p:spPr>
            <a:xfrm flipV="1">
              <a:off x="1099893" y="6140400"/>
              <a:ext cx="7198009" cy="108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2235418" y="468040"/>
            <a:ext cx="6832382" cy="2960960"/>
            <a:chOff x="2235418" y="468040"/>
            <a:chExt cx="6832382" cy="2960960"/>
          </a:xfrm>
        </p:grpSpPr>
        <p:sp>
          <p:nvSpPr>
            <p:cNvPr id="186" name="Rectangle 185"/>
            <p:cNvSpPr/>
            <p:nvPr/>
          </p:nvSpPr>
          <p:spPr>
            <a:xfrm flipV="1">
              <a:off x="6663561" y="519337"/>
              <a:ext cx="415982" cy="108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 smtClean="0">
                <a:solidFill>
                  <a:srgbClr val="000000"/>
                </a:solidFill>
              </a:endParaRPr>
            </a:p>
          </p:txBody>
        </p:sp>
        <p:sp>
          <p:nvSpPr>
            <p:cNvPr id="187" name="TextBox 186"/>
            <p:cNvSpPr txBox="1"/>
            <p:nvPr/>
          </p:nvSpPr>
          <p:spPr>
            <a:xfrm>
              <a:off x="7213343" y="468040"/>
              <a:ext cx="898018" cy="210594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 i="1" dirty="0" smtClean="0">
                  <a:solidFill>
                    <a:srgbClr val="FFFFFF"/>
                  </a:solidFill>
                </a:rPr>
                <a:t>Core value</a:t>
              </a:r>
              <a:endParaRPr lang="en-GB" sz="1200" i="1" dirty="0">
                <a:solidFill>
                  <a:srgbClr val="FFFFFF"/>
                </a:solidFill>
              </a:endParaRPr>
            </a:p>
          </p:txBody>
        </p:sp>
        <p:sp>
          <p:nvSpPr>
            <p:cNvPr id="147" name="Rectangle 146"/>
            <p:cNvSpPr/>
            <p:nvPr/>
          </p:nvSpPr>
          <p:spPr>
            <a:xfrm flipV="1">
              <a:off x="2235418" y="3321000"/>
              <a:ext cx="6832382" cy="108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63969" y="727668"/>
            <a:ext cx="7747392" cy="2737332"/>
            <a:chOff x="363969" y="727668"/>
            <a:chExt cx="7747392" cy="2737332"/>
          </a:xfrm>
        </p:grpSpPr>
        <p:sp>
          <p:nvSpPr>
            <p:cNvPr id="184" name="Oval 183"/>
            <p:cNvSpPr/>
            <p:nvPr/>
          </p:nvSpPr>
          <p:spPr>
            <a:xfrm>
              <a:off x="6663561" y="742965"/>
              <a:ext cx="180000" cy="180000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 smtClean="0">
                <a:solidFill>
                  <a:srgbClr val="000000"/>
                </a:solidFill>
              </a:endParaRPr>
            </a:p>
          </p:txBody>
        </p:sp>
        <p:sp>
          <p:nvSpPr>
            <p:cNvPr id="188" name="TextBox 187"/>
            <p:cNvSpPr txBox="1"/>
            <p:nvPr/>
          </p:nvSpPr>
          <p:spPr>
            <a:xfrm>
              <a:off x="7213343" y="727668"/>
              <a:ext cx="898018" cy="210594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 i="1" dirty="0" smtClean="0">
                  <a:solidFill>
                    <a:srgbClr val="FFFFFF"/>
                  </a:solidFill>
                </a:rPr>
                <a:t>Contributing value</a:t>
              </a:r>
              <a:endParaRPr lang="en-GB" sz="1200" i="1" dirty="0">
                <a:solidFill>
                  <a:srgbClr val="FFFFFF"/>
                </a:solidFill>
              </a:endParaRPr>
            </a:p>
          </p:txBody>
        </p:sp>
        <p:sp>
          <p:nvSpPr>
            <p:cNvPr id="148" name="Oval 147"/>
            <p:cNvSpPr/>
            <p:nvPr/>
          </p:nvSpPr>
          <p:spPr>
            <a:xfrm>
              <a:off x="363969" y="3285000"/>
              <a:ext cx="180000" cy="180000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 smtClean="0">
                <a:solidFill>
                  <a:srgbClr val="000000"/>
                </a:solidFill>
              </a:endParaRPr>
            </a:p>
          </p:txBody>
        </p:sp>
        <p:sp>
          <p:nvSpPr>
            <p:cNvPr id="149" name="Oval 148"/>
            <p:cNvSpPr/>
            <p:nvPr/>
          </p:nvSpPr>
          <p:spPr>
            <a:xfrm>
              <a:off x="1443100" y="3285000"/>
              <a:ext cx="180000" cy="180000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83" name="Oval 182"/>
          <p:cNvSpPr/>
          <p:nvPr/>
        </p:nvSpPr>
        <p:spPr>
          <a:xfrm>
            <a:off x="6660232" y="237693"/>
            <a:ext cx="198586" cy="141447"/>
          </a:xfrm>
          <a:prstGeom prst="ellipse">
            <a:avLst/>
          </a:prstGeom>
          <a:solidFill>
            <a:srgbClr val="FFFF66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185" name="TextBox 184"/>
          <p:cNvSpPr txBox="1"/>
          <p:nvPr/>
        </p:nvSpPr>
        <p:spPr>
          <a:xfrm>
            <a:off x="6976106" y="188640"/>
            <a:ext cx="1744855" cy="21763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200" i="1" dirty="0" smtClean="0">
                <a:solidFill>
                  <a:srgbClr val="FFFFFF"/>
                </a:solidFill>
              </a:rPr>
              <a:t>External action specificities</a:t>
            </a:r>
            <a:endParaRPr lang="en-GB" sz="1200" i="1" dirty="0">
              <a:solidFill>
                <a:srgbClr val="FFFFFF"/>
              </a:solidFill>
            </a:endParaRPr>
          </a:p>
        </p:txBody>
      </p:sp>
      <p:sp>
        <p:nvSpPr>
          <p:cNvPr id="168" name="Oval 167"/>
          <p:cNvSpPr/>
          <p:nvPr/>
        </p:nvSpPr>
        <p:spPr>
          <a:xfrm>
            <a:off x="2239814" y="4506753"/>
            <a:ext cx="198586" cy="141447"/>
          </a:xfrm>
          <a:prstGeom prst="ellipse">
            <a:avLst/>
          </a:prstGeom>
          <a:solidFill>
            <a:srgbClr val="FFFF66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3357425" y="4646726"/>
            <a:ext cx="1595575" cy="326929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i="1" kern="0" dirty="0" smtClean="0">
                <a:solidFill>
                  <a:srgbClr val="FFFFFF">
                    <a:lumMod val="50000"/>
                  </a:srgbClr>
                </a:solidFill>
              </a:rPr>
              <a:t>Action</a:t>
            </a:r>
            <a:endParaRPr lang="en-GB" sz="900" b="1" i="1" kern="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9" name="Isosceles Triangle 108"/>
          <p:cNvSpPr/>
          <p:nvPr/>
        </p:nvSpPr>
        <p:spPr>
          <a:xfrm rot="10800000">
            <a:off x="3672000" y="4578874"/>
            <a:ext cx="900000" cy="12383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944926" y="3505200"/>
            <a:ext cx="958385" cy="63467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 smtClean="0">
                <a:solidFill>
                  <a:srgbClr val="FFFFFF">
                    <a:lumMod val="50000"/>
                  </a:srgbClr>
                </a:solidFill>
              </a:rPr>
              <a:t>Specific process for: Budget Support, CBC, Blending..</a:t>
            </a:r>
          </a:p>
        </p:txBody>
      </p:sp>
      <p:sp>
        <p:nvSpPr>
          <p:cNvPr id="169" name="Oval 168"/>
          <p:cNvSpPr/>
          <p:nvPr/>
        </p:nvSpPr>
        <p:spPr>
          <a:xfrm>
            <a:off x="3352800" y="4506753"/>
            <a:ext cx="198586" cy="141447"/>
          </a:xfrm>
          <a:prstGeom prst="ellipse">
            <a:avLst/>
          </a:prstGeom>
          <a:solidFill>
            <a:srgbClr val="FFFF66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4511976" y="4572000"/>
            <a:ext cx="1736424" cy="909007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i="1" kern="0" dirty="0" smtClean="0">
                <a:solidFill>
                  <a:srgbClr val="FFFFFF">
                    <a:lumMod val="50000"/>
                  </a:srgbClr>
                </a:solidFill>
              </a:rPr>
              <a:t>Commission Decision: (M)AAP, Measure, CBC Action Programme, Exceptional Assistance Measure etc. </a:t>
            </a:r>
            <a:endParaRPr lang="en-GB" sz="900" b="1" i="1" kern="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5" name="Isosceles Triangle 114"/>
          <p:cNvSpPr/>
          <p:nvPr/>
        </p:nvSpPr>
        <p:spPr>
          <a:xfrm rot="10800000">
            <a:off x="5029201" y="4567291"/>
            <a:ext cx="543860" cy="12383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170" name="Oval 169"/>
          <p:cNvSpPr/>
          <p:nvPr/>
        </p:nvSpPr>
        <p:spPr>
          <a:xfrm>
            <a:off x="4923005" y="4506753"/>
            <a:ext cx="198586" cy="141447"/>
          </a:xfrm>
          <a:prstGeom prst="ellipse">
            <a:avLst/>
          </a:prstGeom>
          <a:solidFill>
            <a:srgbClr val="FFFF66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6093000" y="4837300"/>
            <a:ext cx="1908000" cy="342826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i="1" kern="0" dirty="0" smtClean="0">
                <a:solidFill>
                  <a:srgbClr val="FFFFFF">
                    <a:lumMod val="50000"/>
                  </a:srgbClr>
                </a:solidFill>
              </a:rPr>
              <a:t>Programme / Project</a:t>
            </a:r>
            <a:endParaRPr lang="en-GB" sz="900" b="1" i="1" kern="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Isosceles Triangle 7"/>
          <p:cNvSpPr/>
          <p:nvPr/>
        </p:nvSpPr>
        <p:spPr>
          <a:xfrm rot="10800000">
            <a:off x="6400801" y="4567291"/>
            <a:ext cx="1152000" cy="12383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6261980" y="3435399"/>
            <a:ext cx="1962220" cy="2207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>
                <a:solidFill>
                  <a:srgbClr val="FFFFFF">
                    <a:lumMod val="50000"/>
                  </a:srgbClr>
                </a:solidFill>
              </a:rPr>
              <a:t>3 </a:t>
            </a:r>
            <a:r>
              <a:rPr lang="en-GB" sz="800" i="1" dirty="0" smtClean="0">
                <a:solidFill>
                  <a:srgbClr val="FFFFFF">
                    <a:lumMod val="50000"/>
                  </a:srgbClr>
                </a:solidFill>
              </a:rPr>
              <a:t>management modes</a:t>
            </a:r>
            <a:r>
              <a:rPr lang="en-GB" sz="800" i="1" dirty="0">
                <a:solidFill>
                  <a:srgbClr val="FFFFFF">
                    <a:lumMod val="50000"/>
                  </a:srgbClr>
                </a:solidFill>
              </a:rPr>
              <a:t>: direct/indirect/shared </a:t>
            </a:r>
            <a:endParaRPr lang="en-GB" sz="800" i="1" dirty="0" smtClean="0">
              <a:solidFill>
                <a:srgbClr val="FFFFFF">
                  <a:lumMod val="50000"/>
                </a:srgb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 smtClean="0">
                <a:solidFill>
                  <a:srgbClr val="FFFFFF">
                    <a:lumMod val="50000"/>
                  </a:srgbClr>
                </a:solidFill>
              </a:rPr>
              <a:t>Implementation modalities: Procurement, </a:t>
            </a:r>
            <a:r>
              <a:rPr lang="en-GB" sz="800" i="1" dirty="0" err="1" smtClean="0">
                <a:solidFill>
                  <a:srgbClr val="FFFFFF">
                    <a:lumMod val="50000"/>
                  </a:srgbClr>
                </a:solidFill>
              </a:rPr>
              <a:t>CfP</a:t>
            </a:r>
            <a:r>
              <a:rPr lang="en-GB" sz="800" i="1" dirty="0" smtClean="0">
                <a:solidFill>
                  <a:srgbClr val="FFFFFF">
                    <a:lumMod val="50000"/>
                  </a:srgbClr>
                </a:solidFill>
              </a:rPr>
              <a:t>, Contracts and Grant Contracts, Budget support, PAGODA, </a:t>
            </a:r>
            <a:r>
              <a:rPr lang="en-GB" sz="800" i="1" dirty="0">
                <a:solidFill>
                  <a:srgbClr val="FFFFFF">
                    <a:lumMod val="50000"/>
                  </a:srgbClr>
                </a:solidFill>
              </a:rPr>
              <a:t>Blending, PE</a:t>
            </a:r>
            <a:r>
              <a:rPr lang="en-GB" sz="800" i="1" dirty="0" smtClean="0">
                <a:solidFill>
                  <a:srgbClr val="FFFFFF">
                    <a:lumMod val="50000"/>
                  </a:srgbClr>
                </a:solidFill>
              </a:rPr>
              <a:t>, Union TF, CBC, Twinning, </a:t>
            </a:r>
            <a:r>
              <a:rPr lang="en-GB" sz="800" i="1" dirty="0" err="1" smtClean="0">
                <a:solidFill>
                  <a:srgbClr val="FFFFFF">
                    <a:lumMod val="50000"/>
                  </a:srgbClr>
                </a:solidFill>
              </a:rPr>
              <a:t>Taiex</a:t>
            </a:r>
            <a:r>
              <a:rPr lang="en-GB" sz="800" i="1" dirty="0" smtClean="0">
                <a:solidFill>
                  <a:srgbClr val="FFFFFF">
                    <a:lumMod val="50000"/>
                  </a:srgbClr>
                </a:solidFill>
              </a:rPr>
              <a:t>, etc.</a:t>
            </a:r>
          </a:p>
        </p:txBody>
      </p:sp>
      <p:sp>
        <p:nvSpPr>
          <p:cNvPr id="171" name="Oval 170"/>
          <p:cNvSpPr/>
          <p:nvPr/>
        </p:nvSpPr>
        <p:spPr>
          <a:xfrm>
            <a:off x="5826646" y="4506753"/>
            <a:ext cx="198586" cy="141447"/>
          </a:xfrm>
          <a:prstGeom prst="ellipse">
            <a:avLst/>
          </a:prstGeom>
          <a:solidFill>
            <a:srgbClr val="FFFF66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 smtClean="0">
              <a:solidFill>
                <a:srgbClr val="000000"/>
              </a:solidFill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90275" y="5461591"/>
            <a:ext cx="824125" cy="1230969"/>
            <a:chOff x="90275" y="5461591"/>
            <a:chExt cx="824125" cy="1230969"/>
          </a:xfrm>
        </p:grpSpPr>
        <p:grpSp>
          <p:nvGrpSpPr>
            <p:cNvPr id="143" name="Group 142"/>
            <p:cNvGrpSpPr>
              <a:grpSpLocks noChangeAspect="1"/>
            </p:cNvGrpSpPr>
            <p:nvPr/>
          </p:nvGrpSpPr>
          <p:grpSpPr bwMode="gray">
            <a:xfrm>
              <a:off x="225270" y="6101717"/>
              <a:ext cx="308130" cy="590843"/>
              <a:chOff x="2800351" y="5872163"/>
              <a:chExt cx="153988" cy="295275"/>
            </a:xfrm>
            <a:solidFill>
              <a:srgbClr val="00529B"/>
            </a:solidFill>
          </p:grpSpPr>
          <p:sp>
            <p:nvSpPr>
              <p:cNvPr id="151" name="Freeform 402"/>
              <p:cNvSpPr>
                <a:spLocks/>
              </p:cNvSpPr>
              <p:nvPr/>
            </p:nvSpPr>
            <p:spPr bwMode="gray">
              <a:xfrm>
                <a:off x="2800351" y="5916613"/>
                <a:ext cx="153988" cy="250825"/>
              </a:xfrm>
              <a:custGeom>
                <a:avLst/>
                <a:gdLst>
                  <a:gd name="T0" fmla="*/ 85 w 97"/>
                  <a:gd name="T1" fmla="*/ 107 h 158"/>
                  <a:gd name="T2" fmla="*/ 60 w 97"/>
                  <a:gd name="T3" fmla="*/ 70 h 158"/>
                  <a:gd name="T4" fmla="*/ 62 w 97"/>
                  <a:gd name="T5" fmla="*/ 58 h 158"/>
                  <a:gd name="T6" fmla="*/ 89 w 97"/>
                  <a:gd name="T7" fmla="*/ 78 h 158"/>
                  <a:gd name="T8" fmla="*/ 97 w 97"/>
                  <a:gd name="T9" fmla="*/ 67 h 158"/>
                  <a:gd name="T10" fmla="*/ 64 w 97"/>
                  <a:gd name="T11" fmla="*/ 44 h 158"/>
                  <a:gd name="T12" fmla="*/ 66 w 97"/>
                  <a:gd name="T13" fmla="*/ 17 h 158"/>
                  <a:gd name="T14" fmla="*/ 33 w 97"/>
                  <a:gd name="T15" fmla="*/ 0 h 158"/>
                  <a:gd name="T16" fmla="*/ 4 w 97"/>
                  <a:gd name="T17" fmla="*/ 33 h 158"/>
                  <a:gd name="T18" fmla="*/ 2 w 97"/>
                  <a:gd name="T19" fmla="*/ 80 h 158"/>
                  <a:gd name="T20" fmla="*/ 16 w 97"/>
                  <a:gd name="T21" fmla="*/ 80 h 158"/>
                  <a:gd name="T22" fmla="*/ 17 w 97"/>
                  <a:gd name="T23" fmla="*/ 39 h 158"/>
                  <a:gd name="T24" fmla="*/ 30 w 97"/>
                  <a:gd name="T25" fmla="*/ 28 h 158"/>
                  <a:gd name="T26" fmla="*/ 29 w 97"/>
                  <a:gd name="T27" fmla="*/ 74 h 158"/>
                  <a:gd name="T28" fmla="*/ 31 w 97"/>
                  <a:gd name="T29" fmla="*/ 75 h 158"/>
                  <a:gd name="T30" fmla="*/ 0 w 97"/>
                  <a:gd name="T31" fmla="*/ 155 h 158"/>
                  <a:gd name="T32" fmla="*/ 13 w 97"/>
                  <a:gd name="T33" fmla="*/ 158 h 158"/>
                  <a:gd name="T34" fmla="*/ 47 w 97"/>
                  <a:gd name="T35" fmla="*/ 90 h 158"/>
                  <a:gd name="T36" fmla="*/ 69 w 97"/>
                  <a:gd name="T37" fmla="*/ 116 h 158"/>
                  <a:gd name="T38" fmla="*/ 80 w 97"/>
                  <a:gd name="T39" fmla="*/ 158 h 158"/>
                  <a:gd name="T40" fmla="*/ 97 w 97"/>
                  <a:gd name="T41" fmla="*/ 158 h 158"/>
                  <a:gd name="T42" fmla="*/ 85 w 97"/>
                  <a:gd name="T43" fmla="*/ 10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7" h="158">
                    <a:moveTo>
                      <a:pt x="85" y="107"/>
                    </a:moveTo>
                    <a:lnTo>
                      <a:pt x="60" y="70"/>
                    </a:lnTo>
                    <a:lnTo>
                      <a:pt x="62" y="58"/>
                    </a:lnTo>
                    <a:lnTo>
                      <a:pt x="89" y="78"/>
                    </a:lnTo>
                    <a:lnTo>
                      <a:pt x="97" y="67"/>
                    </a:lnTo>
                    <a:lnTo>
                      <a:pt x="64" y="44"/>
                    </a:lnTo>
                    <a:lnTo>
                      <a:pt x="66" y="17"/>
                    </a:lnTo>
                    <a:lnTo>
                      <a:pt x="33" y="0"/>
                    </a:lnTo>
                    <a:lnTo>
                      <a:pt x="4" y="33"/>
                    </a:lnTo>
                    <a:lnTo>
                      <a:pt x="2" y="80"/>
                    </a:lnTo>
                    <a:lnTo>
                      <a:pt x="16" y="80"/>
                    </a:lnTo>
                    <a:lnTo>
                      <a:pt x="17" y="39"/>
                    </a:lnTo>
                    <a:lnTo>
                      <a:pt x="30" y="28"/>
                    </a:lnTo>
                    <a:lnTo>
                      <a:pt x="29" y="74"/>
                    </a:lnTo>
                    <a:lnTo>
                      <a:pt x="31" y="75"/>
                    </a:lnTo>
                    <a:lnTo>
                      <a:pt x="0" y="155"/>
                    </a:lnTo>
                    <a:lnTo>
                      <a:pt x="13" y="158"/>
                    </a:lnTo>
                    <a:lnTo>
                      <a:pt x="47" y="90"/>
                    </a:lnTo>
                    <a:lnTo>
                      <a:pt x="69" y="116"/>
                    </a:lnTo>
                    <a:lnTo>
                      <a:pt x="80" y="158"/>
                    </a:lnTo>
                    <a:lnTo>
                      <a:pt x="97" y="158"/>
                    </a:lnTo>
                    <a:lnTo>
                      <a:pt x="85" y="1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 dirty="0">
                  <a:solidFill>
                    <a:srgbClr val="0F5494"/>
                  </a:solidFill>
                </a:endParaRPr>
              </a:p>
            </p:txBody>
          </p:sp>
          <p:sp>
            <p:nvSpPr>
              <p:cNvPr id="152" name="Oval 403"/>
              <p:cNvSpPr>
                <a:spLocks noChangeArrowheads="1"/>
              </p:cNvSpPr>
              <p:nvPr/>
            </p:nvSpPr>
            <p:spPr bwMode="gray">
              <a:xfrm>
                <a:off x="2870201" y="5872163"/>
                <a:ext cx="50800" cy="476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 dirty="0">
                  <a:solidFill>
                    <a:srgbClr val="0F5494"/>
                  </a:solidFill>
                </a:endParaRPr>
              </a:p>
            </p:txBody>
          </p:sp>
        </p:grpSp>
        <p:grpSp>
          <p:nvGrpSpPr>
            <p:cNvPr id="135" name="Group 134"/>
            <p:cNvGrpSpPr>
              <a:grpSpLocks noChangeAspect="1"/>
            </p:cNvGrpSpPr>
            <p:nvPr/>
          </p:nvGrpSpPr>
          <p:grpSpPr bwMode="gray">
            <a:xfrm>
              <a:off x="582174" y="5895239"/>
              <a:ext cx="308130" cy="590843"/>
              <a:chOff x="2800351" y="5872163"/>
              <a:chExt cx="153988" cy="295275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137" name="Freeform 402"/>
              <p:cNvSpPr>
                <a:spLocks/>
              </p:cNvSpPr>
              <p:nvPr/>
            </p:nvSpPr>
            <p:spPr bwMode="gray">
              <a:xfrm>
                <a:off x="2800351" y="5916613"/>
                <a:ext cx="153988" cy="250825"/>
              </a:xfrm>
              <a:custGeom>
                <a:avLst/>
                <a:gdLst>
                  <a:gd name="T0" fmla="*/ 85 w 97"/>
                  <a:gd name="T1" fmla="*/ 107 h 158"/>
                  <a:gd name="T2" fmla="*/ 60 w 97"/>
                  <a:gd name="T3" fmla="*/ 70 h 158"/>
                  <a:gd name="T4" fmla="*/ 62 w 97"/>
                  <a:gd name="T5" fmla="*/ 58 h 158"/>
                  <a:gd name="T6" fmla="*/ 89 w 97"/>
                  <a:gd name="T7" fmla="*/ 78 h 158"/>
                  <a:gd name="T8" fmla="*/ 97 w 97"/>
                  <a:gd name="T9" fmla="*/ 67 h 158"/>
                  <a:gd name="T10" fmla="*/ 64 w 97"/>
                  <a:gd name="T11" fmla="*/ 44 h 158"/>
                  <a:gd name="T12" fmla="*/ 66 w 97"/>
                  <a:gd name="T13" fmla="*/ 17 h 158"/>
                  <a:gd name="T14" fmla="*/ 33 w 97"/>
                  <a:gd name="T15" fmla="*/ 0 h 158"/>
                  <a:gd name="T16" fmla="*/ 4 w 97"/>
                  <a:gd name="T17" fmla="*/ 33 h 158"/>
                  <a:gd name="T18" fmla="*/ 2 w 97"/>
                  <a:gd name="T19" fmla="*/ 80 h 158"/>
                  <a:gd name="T20" fmla="*/ 16 w 97"/>
                  <a:gd name="T21" fmla="*/ 80 h 158"/>
                  <a:gd name="T22" fmla="*/ 17 w 97"/>
                  <a:gd name="T23" fmla="*/ 39 h 158"/>
                  <a:gd name="T24" fmla="*/ 30 w 97"/>
                  <a:gd name="T25" fmla="*/ 28 h 158"/>
                  <a:gd name="T26" fmla="*/ 29 w 97"/>
                  <a:gd name="T27" fmla="*/ 74 h 158"/>
                  <a:gd name="T28" fmla="*/ 31 w 97"/>
                  <a:gd name="T29" fmla="*/ 75 h 158"/>
                  <a:gd name="T30" fmla="*/ 0 w 97"/>
                  <a:gd name="T31" fmla="*/ 155 h 158"/>
                  <a:gd name="T32" fmla="*/ 13 w 97"/>
                  <a:gd name="T33" fmla="*/ 158 h 158"/>
                  <a:gd name="T34" fmla="*/ 47 w 97"/>
                  <a:gd name="T35" fmla="*/ 90 h 158"/>
                  <a:gd name="T36" fmla="*/ 69 w 97"/>
                  <a:gd name="T37" fmla="*/ 116 h 158"/>
                  <a:gd name="T38" fmla="*/ 80 w 97"/>
                  <a:gd name="T39" fmla="*/ 158 h 158"/>
                  <a:gd name="T40" fmla="*/ 97 w 97"/>
                  <a:gd name="T41" fmla="*/ 158 h 158"/>
                  <a:gd name="T42" fmla="*/ 85 w 97"/>
                  <a:gd name="T43" fmla="*/ 10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7" h="158">
                    <a:moveTo>
                      <a:pt x="85" y="107"/>
                    </a:moveTo>
                    <a:lnTo>
                      <a:pt x="60" y="70"/>
                    </a:lnTo>
                    <a:lnTo>
                      <a:pt x="62" y="58"/>
                    </a:lnTo>
                    <a:lnTo>
                      <a:pt x="89" y="78"/>
                    </a:lnTo>
                    <a:lnTo>
                      <a:pt x="97" y="67"/>
                    </a:lnTo>
                    <a:lnTo>
                      <a:pt x="64" y="44"/>
                    </a:lnTo>
                    <a:lnTo>
                      <a:pt x="66" y="17"/>
                    </a:lnTo>
                    <a:lnTo>
                      <a:pt x="33" y="0"/>
                    </a:lnTo>
                    <a:lnTo>
                      <a:pt x="4" y="33"/>
                    </a:lnTo>
                    <a:lnTo>
                      <a:pt x="2" y="80"/>
                    </a:lnTo>
                    <a:lnTo>
                      <a:pt x="16" y="80"/>
                    </a:lnTo>
                    <a:lnTo>
                      <a:pt x="17" y="39"/>
                    </a:lnTo>
                    <a:lnTo>
                      <a:pt x="30" y="28"/>
                    </a:lnTo>
                    <a:lnTo>
                      <a:pt x="29" y="74"/>
                    </a:lnTo>
                    <a:lnTo>
                      <a:pt x="31" y="75"/>
                    </a:lnTo>
                    <a:lnTo>
                      <a:pt x="0" y="155"/>
                    </a:lnTo>
                    <a:lnTo>
                      <a:pt x="13" y="158"/>
                    </a:lnTo>
                    <a:lnTo>
                      <a:pt x="47" y="90"/>
                    </a:lnTo>
                    <a:lnTo>
                      <a:pt x="69" y="116"/>
                    </a:lnTo>
                    <a:lnTo>
                      <a:pt x="80" y="158"/>
                    </a:lnTo>
                    <a:lnTo>
                      <a:pt x="97" y="158"/>
                    </a:lnTo>
                    <a:lnTo>
                      <a:pt x="85" y="1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 dirty="0">
                  <a:solidFill>
                    <a:srgbClr val="0F5494"/>
                  </a:solidFill>
                </a:endParaRPr>
              </a:p>
            </p:txBody>
          </p:sp>
          <p:sp>
            <p:nvSpPr>
              <p:cNvPr id="142" name="Oval 403"/>
              <p:cNvSpPr>
                <a:spLocks noChangeArrowheads="1"/>
              </p:cNvSpPr>
              <p:nvPr/>
            </p:nvSpPr>
            <p:spPr bwMode="gray">
              <a:xfrm>
                <a:off x="2870201" y="5872163"/>
                <a:ext cx="50800" cy="476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 dirty="0">
                  <a:solidFill>
                    <a:srgbClr val="0F5494"/>
                  </a:solidFill>
                </a:endParaRPr>
              </a:p>
            </p:txBody>
          </p:sp>
        </p:grpSp>
        <p:pic>
          <p:nvPicPr>
            <p:cNvPr id="191" name="Picture 190"/>
            <p:cNvPicPr>
              <a:picLocks noChangeAspect="1"/>
            </p:cNvPicPr>
            <p:nvPr/>
          </p:nvPicPr>
          <p:blipFill>
            <a:blip r:embed="rId7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34318" y="5461591"/>
              <a:ext cx="380082" cy="377107"/>
            </a:xfrm>
            <a:prstGeom prst="rect">
              <a:avLst/>
            </a:prstGeom>
          </p:spPr>
        </p:pic>
        <p:pic>
          <p:nvPicPr>
            <p:cNvPr id="192" name="Picture 191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275" y="5743405"/>
              <a:ext cx="456413" cy="3042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7535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  <p:bldP spid="86" grpId="0" animBg="1"/>
      <p:bldP spid="95" grpId="0" animBg="1"/>
      <p:bldP spid="94" grpId="0" animBg="1"/>
      <p:bldP spid="93" grpId="0" animBg="1"/>
      <p:bldP spid="82" grpId="0" animBg="1"/>
      <p:bldP spid="74" grpId="0" animBg="1"/>
      <p:bldP spid="15" grpId="0"/>
      <p:bldP spid="21" grpId="0" animBg="1"/>
      <p:bldP spid="14" grpId="0"/>
      <p:bldP spid="22" grpId="0" animBg="1"/>
      <p:bldP spid="10" grpId="0"/>
      <p:bldP spid="35" grpId="0" animBg="1"/>
      <p:bldP spid="9" grpId="0"/>
      <p:bldP spid="13" grpId="0"/>
      <p:bldP spid="12" grpId="0"/>
      <p:bldP spid="20" grpId="0" animBg="1"/>
      <p:bldP spid="11" grpId="0"/>
      <p:bldP spid="71" grpId="0" animBg="1"/>
      <p:bldP spid="3" grpId="0"/>
      <p:bldP spid="116" grpId="0"/>
      <p:bldP spid="107" grpId="0" animBg="1"/>
      <p:bldP spid="150" grpId="0"/>
      <p:bldP spid="183" grpId="0" animBg="1"/>
      <p:bldP spid="185" grpId="0"/>
      <p:bldP spid="168" grpId="0" animBg="1"/>
      <p:bldP spid="124" grpId="0"/>
      <p:bldP spid="109" grpId="0" animBg="1"/>
      <p:bldP spid="110" grpId="0"/>
      <p:bldP spid="169" grpId="0" animBg="1"/>
      <p:bldP spid="125" grpId="0"/>
      <p:bldP spid="115" grpId="0" animBg="1"/>
      <p:bldP spid="170" grpId="0" animBg="1"/>
      <p:bldP spid="114" grpId="0"/>
      <p:bldP spid="8" grpId="0" animBg="1"/>
      <p:bldP spid="134" grpId="0"/>
      <p:bldP spid="17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_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lide_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lank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fr-FR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fr-FR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697</TotalTime>
  <Pages>0</Pages>
  <Words>1928</Words>
  <Characters>0</Characters>
  <Application>Microsoft Office PowerPoint</Application>
  <PresentationFormat>On-screen Show (4:3)</PresentationFormat>
  <Lines>0</Lines>
  <Paragraphs>567</Paragraphs>
  <Slides>25</Slides>
  <Notes>3</Notes>
  <HiddenSlides>1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9" baseType="lpstr">
      <vt:lpstr>Slide_Master</vt:lpstr>
      <vt:lpstr>1_Slide_Master</vt:lpstr>
      <vt:lpstr>blank</vt:lpstr>
      <vt:lpstr>think-cell Slide</vt:lpstr>
      <vt:lpstr>OpSys</vt:lpstr>
      <vt:lpstr>Agenda </vt:lpstr>
      <vt:lpstr>1. Introduction</vt:lpstr>
      <vt:lpstr>B) A brief history</vt:lpstr>
      <vt:lpstr>2. What do you need to know about OpSys?</vt:lpstr>
      <vt:lpstr>OpSys Objectives</vt:lpstr>
      <vt:lpstr>OpSys Objectives</vt:lpstr>
      <vt:lpstr>OpSys benefits</vt:lpstr>
      <vt:lpstr> Process Overview with OpSys positioning</vt:lpstr>
      <vt:lpstr>OpSys Programme </vt:lpstr>
      <vt:lpstr>3. How do we work together</vt:lpstr>
      <vt:lpstr>Governance  overview </vt:lpstr>
      <vt:lpstr>PUC </vt:lpstr>
      <vt:lpstr>PUC </vt:lpstr>
      <vt:lpstr>PowerPoint Presentation</vt:lpstr>
      <vt:lpstr>EU Delegations</vt:lpstr>
      <vt:lpstr>4. What to expect in 2016 ?</vt:lpstr>
      <vt:lpstr>2016: Main activities and milestones (1)</vt:lpstr>
      <vt:lpstr>2016: Main activities and milestones (2)</vt:lpstr>
      <vt:lpstr>Possible agenda points for next PUCs</vt:lpstr>
      <vt:lpstr>Your contribution:</vt:lpstr>
      <vt:lpstr>Thank you for your attention</vt:lpstr>
      <vt:lpstr>PowerPoint Presentation</vt:lpstr>
      <vt:lpstr> Mapping Business Processes-Business Timeline-Releases – RELEASE 2</vt:lpstr>
      <vt:lpstr>Main implementation modalities – spread over 2014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ority Setting</dc:title>
  <dc:creator>Koert Declercq</dc:creator>
  <cp:lastModifiedBy>THIEULIN Denis (DEVCO)</cp:lastModifiedBy>
  <cp:revision>732</cp:revision>
  <cp:lastPrinted>2016-01-21T09:09:48Z</cp:lastPrinted>
  <dcterms:modified xsi:type="dcterms:W3CDTF">2016-02-04T16:46:41Z</dcterms:modified>
</cp:coreProperties>
</file>